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117.xml" ContentType="application/vnd.openxmlformats-officedocument.presentationml.slideLayou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6.xml" ContentType="application/vnd.openxmlformats-officedocument.presentationml.tags+xml"/>
  <Override PartName="/docMetadata/LabelInfo.xml" ContentType="application/vnd.ms-office.classificationlabels+xml"/>
  <Override PartName="/docProps/custom.xml" ContentType="application/vnd.openxmlformats-officedocument.custom-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44" r:id="rId1"/>
    <p:sldMasterId id="2147484311" r:id="rId2"/>
    <p:sldMasterId id="2147484341" r:id="rId3"/>
    <p:sldMasterId id="2147484368" r:id="rId4"/>
    <p:sldMasterId id="2147484412" r:id="rId5"/>
  </p:sldMasterIdLst>
  <p:notesMasterIdLst>
    <p:notesMasterId r:id="rId51"/>
  </p:notesMasterIdLst>
  <p:handoutMasterIdLst>
    <p:handoutMasterId r:id="rId52"/>
  </p:handoutMasterIdLst>
  <p:sldIdLst>
    <p:sldId id="2147479231" r:id="rId6"/>
    <p:sldId id="2654" r:id="rId7"/>
    <p:sldId id="2642" r:id="rId8"/>
    <p:sldId id="2643" r:id="rId9"/>
    <p:sldId id="2652" r:id="rId10"/>
    <p:sldId id="2651" r:id="rId11"/>
    <p:sldId id="2644" r:id="rId12"/>
    <p:sldId id="2645" r:id="rId13"/>
    <p:sldId id="2646" r:id="rId14"/>
    <p:sldId id="2647" r:id="rId15"/>
    <p:sldId id="2648" r:id="rId16"/>
    <p:sldId id="4456" r:id="rId17"/>
    <p:sldId id="2147469111" r:id="rId18"/>
    <p:sldId id="2147469118" r:id="rId19"/>
    <p:sldId id="2147469113" r:id="rId20"/>
    <p:sldId id="4459" r:id="rId21"/>
    <p:sldId id="2653" r:id="rId22"/>
    <p:sldId id="4458" r:id="rId23"/>
    <p:sldId id="2655" r:id="rId24"/>
    <p:sldId id="2656" r:id="rId25"/>
    <p:sldId id="2657" r:id="rId26"/>
    <p:sldId id="2658" r:id="rId27"/>
    <p:sldId id="2662" r:id="rId28"/>
    <p:sldId id="2663" r:id="rId29"/>
    <p:sldId id="2147469131" r:id="rId30"/>
    <p:sldId id="2664" r:id="rId31"/>
    <p:sldId id="2665" r:id="rId32"/>
    <p:sldId id="2666" r:id="rId33"/>
    <p:sldId id="2667" r:id="rId34"/>
    <p:sldId id="2669" r:id="rId35"/>
    <p:sldId id="2147479232" r:id="rId36"/>
    <p:sldId id="4684" r:id="rId37"/>
    <p:sldId id="2678" r:id="rId38"/>
    <p:sldId id="2147479212" r:id="rId39"/>
    <p:sldId id="3400" r:id="rId40"/>
    <p:sldId id="3385" r:id="rId41"/>
    <p:sldId id="4463" r:id="rId42"/>
    <p:sldId id="2147469130" r:id="rId43"/>
    <p:sldId id="4455" r:id="rId44"/>
    <p:sldId id="2712" r:id="rId45"/>
    <p:sldId id="2711" r:id="rId46"/>
    <p:sldId id="4755" r:id="rId47"/>
    <p:sldId id="2685" r:id="rId48"/>
    <p:sldId id="4753" r:id="rId49"/>
    <p:sldId id="2623" r:id="rId5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ssett, Mandy" initials="BM" lastIdx="1" clrIdx="0">
    <p:extLst>
      <p:ext uri="{19B8F6BF-5375-455C-9EA6-DF929625EA0E}">
        <p15:presenceInfo xmlns:p15="http://schemas.microsoft.com/office/powerpoint/2012/main" userId="S::ARB@FIRM.BDBC.COM::af687dea-e6b0-4720-aa4b-a791a4296c4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99999"/>
    <a:srgbClr val="F2F2F2"/>
    <a:srgbClr val="2B2E35"/>
    <a:srgbClr val="00C5CF"/>
    <a:srgbClr val="71DEB0"/>
    <a:srgbClr val="35D6AA"/>
    <a:srgbClr val="03CFD9"/>
    <a:srgbClr val="00DDE8"/>
    <a:srgbClr val="9C4392"/>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390" autoAdjust="0"/>
    <p:restoredTop sz="96163" autoAdjust="0"/>
  </p:normalViewPr>
  <p:slideViewPr>
    <p:cSldViewPr snapToGrid="0" snapToObjects="1">
      <p:cViewPr varScale="1">
        <p:scale>
          <a:sx n="106" d="100"/>
          <a:sy n="106" d="100"/>
        </p:scale>
        <p:origin x="828" y="102"/>
      </p:cViewPr>
      <p:guideLst/>
    </p:cSldViewPr>
  </p:slideViewPr>
  <p:notesTextViewPr>
    <p:cViewPr>
      <p:scale>
        <a:sx n="3" d="2"/>
        <a:sy n="3" d="2"/>
      </p:scale>
      <p:origin x="0" y="0"/>
    </p:cViewPr>
  </p:notesTextViewPr>
  <p:sorterViewPr>
    <p:cViewPr varScale="1">
      <p:scale>
        <a:sx n="100" d="100"/>
        <a:sy n="100" d="100"/>
      </p:scale>
      <p:origin x="0" y="0"/>
    </p:cViewPr>
  </p:sorterViewPr>
  <p:notesViewPr>
    <p:cSldViewPr snapToGrid="0" snapToObjects="1" showGuides="1">
      <p:cViewPr varScale="1">
        <p:scale>
          <a:sx n="80" d="100"/>
          <a:sy n="80" d="100"/>
        </p:scale>
        <p:origin x="3066"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commentAuthors" Target="commentAuthors.xml"/><Relationship Id="rId58" Type="http://schemas.openxmlformats.org/officeDocument/2006/relationships/customXml" Target="../customXml/item1.xml"/><Relationship Id="rId5" Type="http://schemas.openxmlformats.org/officeDocument/2006/relationships/slideMaster" Target="slideMasters/slideMaster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customXml" Target="../customXml/item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 Id="rId60"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5445714-ED6A-474D-B00C-4B977A00AAC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25B3F64-128E-4009-A82D-B2853B7FCC8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7BCC193-F651-4A23-BD0D-CF310AA8757D}" type="datetimeFigureOut">
              <a:rPr lang="en-US" smtClean="0"/>
              <a:t>4/19/2025</a:t>
            </a:fld>
            <a:endParaRPr lang="en-US"/>
          </a:p>
        </p:txBody>
      </p:sp>
      <p:sp>
        <p:nvSpPr>
          <p:cNvPr id="4" name="Footer Placeholder 3">
            <a:extLst>
              <a:ext uri="{FF2B5EF4-FFF2-40B4-BE49-F238E27FC236}">
                <a16:creationId xmlns:a16="http://schemas.microsoft.com/office/drawing/2014/main" id="{65E62EEB-C029-4807-9568-C88866CE9AF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3B29316-9100-4D28-AF23-58F3EC2FB29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5210D01-C863-46C0-BB10-34EE72E742E4}" type="slidenum">
              <a:rPr lang="en-US" smtClean="0"/>
              <a:t>‹#›</a:t>
            </a:fld>
            <a:endParaRPr lang="en-US"/>
          </a:p>
        </p:txBody>
      </p:sp>
    </p:spTree>
    <p:extLst>
      <p:ext uri="{BB962C8B-B14F-4D97-AF65-F5344CB8AC3E}">
        <p14:creationId xmlns:p14="http://schemas.microsoft.com/office/powerpoint/2010/main" val="22021374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1" i="0">
                <a:latin typeface="Open Sans Semibold"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1" i="0">
                <a:latin typeface="Open Sans Semibold" charset="0"/>
              </a:defRPr>
            </a:lvl1pPr>
          </a:lstStyle>
          <a:p>
            <a:fld id="{EFC10EE1-B198-C942-8235-326C972CBB30}" type="datetimeFigureOut">
              <a:rPr lang="en-US" smtClean="0"/>
              <a:pPr/>
              <a:t>4/19/2025</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1" i="0">
                <a:latin typeface="Open Sans Semibold"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1" i="0">
                <a:latin typeface="Open Sans Semibold" charset="0"/>
              </a:defRPr>
            </a:lvl1pPr>
          </a:lstStyle>
          <a:p>
            <a:fld id="{006BE02D-20C0-F840-AFAC-BEA99C74FDC2}" type="slidenum">
              <a:rPr lang="en-US" smtClean="0"/>
              <a:pPr/>
              <a:t>‹#›</a:t>
            </a:fld>
            <a:endParaRPr lang="en-US" dirty="0"/>
          </a:p>
        </p:txBody>
      </p:sp>
    </p:spTree>
    <p:extLst>
      <p:ext uri="{BB962C8B-B14F-4D97-AF65-F5344CB8AC3E}">
        <p14:creationId xmlns:p14="http://schemas.microsoft.com/office/powerpoint/2010/main" val="3463289142"/>
      </p:ext>
    </p:extLst>
  </p:cSld>
  <p:clrMap bg1="lt1" tx1="dk1" bg2="lt2" tx2="dk2" accent1="accent1" accent2="accent2" accent3="accent3" accent4="accent4" accent5="accent5" accent6="accent6" hlink="hlink" folHlink="folHlink"/>
  <p:notesStyle>
    <a:lvl1pPr marL="0" algn="l" defTabSz="457109" rtl="0" eaLnBrk="1" latinLnBrk="0" hangingPunct="1">
      <a:defRPr sz="1200" b="1" i="0" kern="1200">
        <a:solidFill>
          <a:schemeClr val="tx1"/>
        </a:solidFill>
        <a:latin typeface="Open Sans Semibold" charset="0"/>
        <a:ea typeface="+mn-ea"/>
        <a:cs typeface="+mn-cs"/>
      </a:defRPr>
    </a:lvl1pPr>
    <a:lvl2pPr marL="457109" algn="l" defTabSz="457109" rtl="0" eaLnBrk="1" latinLnBrk="0" hangingPunct="1">
      <a:defRPr sz="1200" b="1" i="0" kern="1200">
        <a:solidFill>
          <a:schemeClr val="tx1"/>
        </a:solidFill>
        <a:latin typeface="Open Sans Semibold" charset="0"/>
        <a:ea typeface="+mn-ea"/>
        <a:cs typeface="+mn-cs"/>
      </a:defRPr>
    </a:lvl2pPr>
    <a:lvl3pPr marL="914217" algn="l" defTabSz="457109" rtl="0" eaLnBrk="1" latinLnBrk="0" hangingPunct="1">
      <a:defRPr sz="1200" b="1" i="0" kern="1200">
        <a:solidFill>
          <a:schemeClr val="tx1"/>
        </a:solidFill>
        <a:latin typeface="Open Sans Semibold" charset="0"/>
        <a:ea typeface="+mn-ea"/>
        <a:cs typeface="+mn-cs"/>
      </a:defRPr>
    </a:lvl3pPr>
    <a:lvl4pPr marL="1371326" algn="l" defTabSz="457109" rtl="0" eaLnBrk="1" latinLnBrk="0" hangingPunct="1">
      <a:defRPr sz="1200" b="1" i="0" kern="1200">
        <a:solidFill>
          <a:schemeClr val="tx1"/>
        </a:solidFill>
        <a:latin typeface="Open Sans Semibold" charset="0"/>
        <a:ea typeface="+mn-ea"/>
        <a:cs typeface="+mn-cs"/>
      </a:defRPr>
    </a:lvl4pPr>
    <a:lvl5pPr marL="1828434" algn="l" defTabSz="457109" rtl="0" eaLnBrk="1" latinLnBrk="0" hangingPunct="1">
      <a:defRPr sz="1200" b="1" i="0" kern="1200">
        <a:solidFill>
          <a:schemeClr val="tx1"/>
        </a:solidFill>
        <a:latin typeface="Open Sans Semibold" charset="0"/>
        <a:ea typeface="+mn-ea"/>
        <a:cs typeface="+mn-cs"/>
      </a:defRPr>
    </a:lvl5pPr>
    <a:lvl6pPr marL="2285543" algn="l" defTabSz="457109" rtl="0" eaLnBrk="1" latinLnBrk="0" hangingPunct="1">
      <a:defRPr sz="1200" kern="1200">
        <a:solidFill>
          <a:schemeClr val="tx1"/>
        </a:solidFill>
        <a:latin typeface="+mn-lt"/>
        <a:ea typeface="+mn-ea"/>
        <a:cs typeface="+mn-cs"/>
      </a:defRPr>
    </a:lvl6pPr>
    <a:lvl7pPr marL="2742652" algn="l" defTabSz="457109" rtl="0" eaLnBrk="1" latinLnBrk="0" hangingPunct="1">
      <a:defRPr sz="1200" kern="1200">
        <a:solidFill>
          <a:schemeClr val="tx1"/>
        </a:solidFill>
        <a:latin typeface="+mn-lt"/>
        <a:ea typeface="+mn-ea"/>
        <a:cs typeface="+mn-cs"/>
      </a:defRPr>
    </a:lvl7pPr>
    <a:lvl8pPr marL="3199760" algn="l" defTabSz="457109" rtl="0" eaLnBrk="1" latinLnBrk="0" hangingPunct="1">
      <a:defRPr sz="1200" kern="1200">
        <a:solidFill>
          <a:schemeClr val="tx1"/>
        </a:solidFill>
        <a:latin typeface="+mn-lt"/>
        <a:ea typeface="+mn-ea"/>
        <a:cs typeface="+mn-cs"/>
      </a:defRPr>
    </a:lvl8pPr>
    <a:lvl9pPr marL="3656869" algn="l" defTabSz="45710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Tree>
    <p:extLst>
      <p:ext uri="{BB962C8B-B14F-4D97-AF65-F5344CB8AC3E}">
        <p14:creationId xmlns:p14="http://schemas.microsoft.com/office/powerpoint/2010/main" val="5549635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09" rtl="0" eaLnBrk="1" fontAlgn="auto" latinLnBrk="0" hangingPunct="1">
              <a:lnSpc>
                <a:spcPct val="100000"/>
              </a:lnSpc>
              <a:spcBef>
                <a:spcPts val="0"/>
              </a:spcBef>
              <a:spcAft>
                <a:spcPts val="0"/>
              </a:spcAft>
              <a:buClrTx/>
              <a:buSzTx/>
              <a:buFontTx/>
              <a:buNone/>
              <a:tabLst/>
              <a:defRPr/>
            </a:pPr>
            <a:r>
              <a:rPr lang="en-US" dirty="0"/>
              <a:t>GUARDRAILS – consider accuracy, reliance, checking results (1</a:t>
            </a:r>
            <a:r>
              <a:rPr lang="en-US" baseline="30000" dirty="0"/>
              <a:t>st</a:t>
            </a:r>
            <a:r>
              <a:rPr lang="en-US" dirty="0"/>
              <a:t> year associate analogy)</a:t>
            </a:r>
          </a:p>
          <a:p>
            <a:pPr marL="0" marR="0" lvl="0" indent="0" algn="l" defTabSz="457109" rtl="0" eaLnBrk="1" fontAlgn="auto" latinLnBrk="0" hangingPunct="1">
              <a:lnSpc>
                <a:spcPct val="100000"/>
              </a:lnSpc>
              <a:spcBef>
                <a:spcPts val="0"/>
              </a:spcBef>
              <a:spcAft>
                <a:spcPts val="0"/>
              </a:spcAft>
              <a:buClrTx/>
              <a:buSzTx/>
              <a:buFontTx/>
              <a:buNone/>
              <a:tabLst/>
              <a:defRPr/>
            </a:pPr>
            <a:endParaRPr lang="en-US" dirty="0"/>
          </a:p>
          <a:p>
            <a:r>
              <a:rPr lang="en-US" b="0" dirty="0"/>
              <a:t>https://www.bakerdonelson.com/workplace-discrimination-lawsuits-juries-wont-blame-ai-theyll-blame-you</a:t>
            </a:r>
          </a:p>
          <a:p>
            <a:endParaRPr lang="en-US" b="0" dirty="0"/>
          </a:p>
          <a:p>
            <a:r>
              <a:rPr lang="en-US" b="0" dirty="0"/>
              <a:t>Regarding HR use in particular, </a:t>
            </a:r>
            <a:r>
              <a:rPr lang="en-US" b="1" i="0" dirty="0">
                <a:solidFill>
                  <a:srgbClr val="006983"/>
                </a:solidFill>
                <a:effectLst/>
                <a:latin typeface="ITC Berkeley Old Style W01"/>
              </a:rPr>
              <a:t>Workplace discrimination claims remain one of the most significant areas of legal exposure for employers, from hiring to firing and everything in between. An employer's reliance on artificial intelligence (AI), especially in the hiring process, does not lessen this exposure.</a:t>
            </a:r>
          </a:p>
          <a:p>
            <a:endParaRPr lang="en-US" b="1" i="0" dirty="0">
              <a:solidFill>
                <a:srgbClr val="006983"/>
              </a:solidFill>
              <a:effectLst/>
              <a:latin typeface="ITC Berkeley Old Style W01"/>
            </a:endParaRPr>
          </a:p>
          <a:p>
            <a:pPr algn="l"/>
            <a:r>
              <a:rPr lang="en-US" b="0" i="0" dirty="0">
                <a:solidFill>
                  <a:srgbClr val="000000"/>
                </a:solidFill>
                <a:effectLst/>
                <a:latin typeface="ITC Berkeley Old Style W01"/>
              </a:rPr>
              <a:t>With ever-increasing urgencies, employers have been turning to AI, especially with respect to hiring and HR functions. Employers, for example, often turn to AI for their initial review of résumés and applications. Whether pre-programmed or specifically designed for an employer, AI tools then evaluate, select, and discard applicants – usually in the blink of an eye. In the eyes of the law, these actions are evaluated no differently than if they were performed by people. It does not matter that AI was involved.</a:t>
            </a:r>
          </a:p>
          <a:p>
            <a:pPr algn="l"/>
            <a:endParaRPr lang="en-US" b="0" i="0" dirty="0">
              <a:solidFill>
                <a:srgbClr val="000000"/>
              </a:solidFill>
              <a:effectLst/>
              <a:latin typeface="ITC Berkeley Old Style W01"/>
            </a:endParaRPr>
          </a:p>
          <a:p>
            <a:pPr algn="l"/>
            <a:r>
              <a:rPr lang="en-US" b="0" i="0" dirty="0">
                <a:solidFill>
                  <a:srgbClr val="000000"/>
                </a:solidFill>
                <a:effectLst/>
                <a:latin typeface="ITC Berkeley Old Style W01"/>
              </a:rPr>
              <a:t>If a company uses AI and it results in a disparate impact on, say, female applicants, the fact that AI was involved will have no bearing on the impact claims that follow. </a:t>
            </a:r>
            <a:r>
              <a:rPr lang="en-US" b="1" i="0" dirty="0">
                <a:solidFill>
                  <a:srgbClr val="000000"/>
                </a:solidFill>
                <a:effectLst/>
                <a:latin typeface="ITC Berkeley Old Style W01"/>
              </a:rPr>
              <a:t>The use of AI not a defense to discrimination claims</a:t>
            </a:r>
            <a:r>
              <a:rPr lang="en-US" b="0" i="0" dirty="0">
                <a:solidFill>
                  <a:srgbClr val="000000"/>
                </a:solidFill>
                <a:effectLst/>
                <a:latin typeface="ITC Berkeley Old Style W01"/>
              </a:rPr>
              <a:t>.</a:t>
            </a:r>
          </a:p>
          <a:p>
            <a:endParaRPr lang="en-US" b="0" dirty="0"/>
          </a:p>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25</a:t>
            </a:fld>
            <a:endParaRPr lang="en-US" dirty="0"/>
          </a:p>
        </p:txBody>
      </p:sp>
    </p:spTree>
    <p:extLst>
      <p:ext uri="{BB962C8B-B14F-4D97-AF65-F5344CB8AC3E}">
        <p14:creationId xmlns:p14="http://schemas.microsoft.com/office/powerpoint/2010/main" val="5287100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09" rtl="0" eaLnBrk="1" fontAlgn="auto" latinLnBrk="0" hangingPunct="1">
              <a:lnSpc>
                <a:spcPct val="100000"/>
              </a:lnSpc>
              <a:spcBef>
                <a:spcPts val="0"/>
              </a:spcBef>
              <a:spcAft>
                <a:spcPts val="0"/>
              </a:spcAft>
              <a:buClrTx/>
              <a:buSzTx/>
              <a:buFontTx/>
              <a:buNone/>
              <a:tabLst/>
              <a:defRPr/>
            </a:pPr>
            <a:r>
              <a:rPr lang="en-US" dirty="0"/>
              <a:t>In our current business environment, many companies use hundreds (or more) vendors.  As those vendors are grappling with these same issues, it is important to consider whether AI is creating any issues in this context as well.  (Slide)</a:t>
            </a:r>
          </a:p>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27</a:t>
            </a:fld>
            <a:endParaRPr lang="en-US" dirty="0"/>
          </a:p>
        </p:txBody>
      </p:sp>
    </p:spTree>
    <p:extLst>
      <p:ext uri="{BB962C8B-B14F-4D97-AF65-F5344CB8AC3E}">
        <p14:creationId xmlns:p14="http://schemas.microsoft.com/office/powerpoint/2010/main" val="3195236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09" rtl="0" eaLnBrk="1" fontAlgn="auto" latinLnBrk="0" hangingPunct="1">
              <a:lnSpc>
                <a:spcPct val="100000"/>
              </a:lnSpc>
              <a:spcBef>
                <a:spcPts val="0"/>
              </a:spcBef>
              <a:spcAft>
                <a:spcPts val="0"/>
              </a:spcAft>
              <a:buClrTx/>
              <a:buSzTx/>
              <a:buFontTx/>
              <a:buNone/>
              <a:tabLst/>
              <a:defRPr/>
            </a:pPr>
            <a:r>
              <a:rPr lang="en-US" dirty="0"/>
              <a:t>Alex</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1" i="0" u="none" strike="noStrike" kern="1200" cap="none" spc="0" normalizeH="0" baseline="0" noProof="0" smtClean="0">
                <a:ln>
                  <a:noFill/>
                </a:ln>
                <a:solidFill>
                  <a:prstClr val="black"/>
                </a:solidFill>
                <a:effectLst/>
                <a:uLnTx/>
                <a:uFillTx/>
                <a:latin typeface="Open Sans Semibold"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1" i="0" u="none" strike="noStrike" kern="1200" cap="none" spc="0" normalizeH="0" baseline="0" noProof="0" dirty="0">
              <a:ln>
                <a:noFill/>
              </a:ln>
              <a:solidFill>
                <a:prstClr val="black"/>
              </a:solidFill>
              <a:effectLst/>
              <a:uLnTx/>
              <a:uFillTx/>
              <a:latin typeface="Open Sans Semibold" charset="0"/>
              <a:ea typeface="+mn-ea"/>
              <a:cs typeface="+mn-cs"/>
            </a:endParaRPr>
          </a:p>
        </p:txBody>
      </p:sp>
    </p:spTree>
    <p:extLst>
      <p:ext uri="{BB962C8B-B14F-4D97-AF65-F5344CB8AC3E}">
        <p14:creationId xmlns:p14="http://schemas.microsoft.com/office/powerpoint/2010/main" val="29725000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1" i="0" u="none" strike="noStrike" kern="1200" cap="none" spc="0" normalizeH="0" baseline="0" noProof="0" smtClean="0">
                <a:ln>
                  <a:noFill/>
                </a:ln>
                <a:solidFill>
                  <a:prstClr val="black"/>
                </a:solidFill>
                <a:effectLst/>
                <a:uLnTx/>
                <a:uFillTx/>
                <a:latin typeface="Open Sans Semibold"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1" i="0" u="none" strike="noStrike" kern="1200" cap="none" spc="0" normalizeH="0" baseline="0" noProof="0" dirty="0">
              <a:ln>
                <a:noFill/>
              </a:ln>
              <a:solidFill>
                <a:prstClr val="black"/>
              </a:solidFill>
              <a:effectLst/>
              <a:uLnTx/>
              <a:uFillTx/>
              <a:latin typeface="Open Sans Semibold" charset="0"/>
              <a:ea typeface="+mn-ea"/>
              <a:cs typeface="+mn-cs"/>
            </a:endParaRPr>
          </a:p>
        </p:txBody>
      </p:sp>
    </p:spTree>
    <p:extLst>
      <p:ext uri="{BB962C8B-B14F-4D97-AF65-F5344CB8AC3E}">
        <p14:creationId xmlns:p14="http://schemas.microsoft.com/office/powerpoint/2010/main" val="7672034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1" i="0" u="none" strike="noStrike" kern="1200" cap="none" spc="0" normalizeH="0" baseline="0" noProof="0" smtClean="0">
                <a:ln>
                  <a:noFill/>
                </a:ln>
                <a:solidFill>
                  <a:prstClr val="black"/>
                </a:solidFill>
                <a:effectLst/>
                <a:uLnTx/>
                <a:uFillTx/>
                <a:latin typeface="Open Sans Semibold"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1" i="0" u="none" strike="noStrike" kern="1200" cap="none" spc="0" normalizeH="0" baseline="0" noProof="0" dirty="0">
              <a:ln>
                <a:noFill/>
              </a:ln>
              <a:solidFill>
                <a:prstClr val="black"/>
              </a:solidFill>
              <a:effectLst/>
              <a:uLnTx/>
              <a:uFillTx/>
              <a:latin typeface="Open Sans Semibold" charset="0"/>
              <a:ea typeface="+mn-ea"/>
              <a:cs typeface="+mn-cs"/>
            </a:endParaRPr>
          </a:p>
        </p:txBody>
      </p:sp>
    </p:spTree>
    <p:extLst>
      <p:ext uri="{BB962C8B-B14F-4D97-AF65-F5344CB8AC3E}">
        <p14:creationId xmlns:p14="http://schemas.microsoft.com/office/powerpoint/2010/main" val="2359932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Tree>
    <p:extLst>
      <p:ext uri="{BB962C8B-B14F-4D97-AF65-F5344CB8AC3E}">
        <p14:creationId xmlns:p14="http://schemas.microsoft.com/office/powerpoint/2010/main" val="26758510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1" i="0" u="none" strike="noStrike" kern="1200" cap="none" spc="0" normalizeH="0" baseline="0" noProof="0" smtClean="0">
                <a:ln>
                  <a:noFill/>
                </a:ln>
                <a:solidFill>
                  <a:prstClr val="black"/>
                </a:solidFill>
                <a:effectLst/>
                <a:uLnTx/>
                <a:uFillTx/>
                <a:latin typeface="Open Sans Semibold"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1" i="0" u="none" strike="noStrike" kern="1200" cap="none" spc="0" normalizeH="0" baseline="0" noProof="0" dirty="0">
              <a:ln>
                <a:noFill/>
              </a:ln>
              <a:solidFill>
                <a:prstClr val="black"/>
              </a:solidFill>
              <a:effectLst/>
              <a:uLnTx/>
              <a:uFillTx/>
              <a:latin typeface="Open Sans Semibold" charset="0"/>
              <a:ea typeface="+mn-ea"/>
              <a:cs typeface="+mn-cs"/>
            </a:endParaRPr>
          </a:p>
        </p:txBody>
      </p:sp>
    </p:spTree>
    <p:extLst>
      <p:ext uri="{BB962C8B-B14F-4D97-AF65-F5344CB8AC3E}">
        <p14:creationId xmlns:p14="http://schemas.microsoft.com/office/powerpoint/2010/main" val="22211227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237659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1" i="0" u="none" strike="noStrike" kern="1200" cap="none" spc="0" normalizeH="0" baseline="0" noProof="0" smtClean="0">
                <a:ln>
                  <a:noFill/>
                </a:ln>
                <a:solidFill>
                  <a:prstClr val="black"/>
                </a:solidFill>
                <a:effectLst/>
                <a:uLnTx/>
                <a:uFillTx/>
                <a:latin typeface="Open Sans Semibold"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1" i="0" u="none" strike="noStrike" kern="1200" cap="none" spc="0" normalizeH="0" baseline="0" noProof="0" dirty="0">
              <a:ln>
                <a:noFill/>
              </a:ln>
              <a:solidFill>
                <a:prstClr val="black"/>
              </a:solidFill>
              <a:effectLst/>
              <a:uLnTx/>
              <a:uFillTx/>
              <a:latin typeface="Open Sans Semibold" charset="0"/>
              <a:ea typeface="+mn-ea"/>
              <a:cs typeface="+mn-cs"/>
            </a:endParaRPr>
          </a:p>
        </p:txBody>
      </p:sp>
    </p:spTree>
    <p:extLst>
      <p:ext uri="{BB962C8B-B14F-4D97-AF65-F5344CB8AC3E}">
        <p14:creationId xmlns:p14="http://schemas.microsoft.com/office/powerpoint/2010/main" val="1692393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09" rtl="0" eaLnBrk="1" fontAlgn="auto" latinLnBrk="0" hangingPunct="1">
              <a:lnSpc>
                <a:spcPct val="100000"/>
              </a:lnSpc>
              <a:spcBef>
                <a:spcPts val="0"/>
              </a:spcBef>
              <a:spcAft>
                <a:spcPts val="0"/>
              </a:spcAft>
              <a:buClrTx/>
              <a:buSzTx/>
              <a:buFontTx/>
              <a:buNone/>
              <a:tabLst/>
              <a:defRPr/>
            </a:pPr>
            <a:r>
              <a:rPr lang="en-US" dirty="0"/>
              <a:t>Expected to reach $1.81T by 2030.</a:t>
            </a:r>
          </a:p>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3</a:t>
            </a:fld>
            <a:endParaRPr lang="en-US" dirty="0"/>
          </a:p>
        </p:txBody>
      </p:sp>
    </p:spTree>
    <p:extLst>
      <p:ext uri="{BB962C8B-B14F-4D97-AF65-F5344CB8AC3E}">
        <p14:creationId xmlns:p14="http://schemas.microsoft.com/office/powerpoint/2010/main" val="241992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Recommendation algorithms</a:t>
            </a:r>
          </a:p>
          <a:p>
            <a:r>
              <a:rPr lang="en-US" b="0" dirty="0"/>
              <a:t>Image analysis and object detection – ML can analyze images for different information like learning to identify people and tell them apart</a:t>
            </a:r>
          </a:p>
          <a:p>
            <a:r>
              <a:rPr lang="en-US" b="0" dirty="0"/>
              <a:t>Fraud Detection – How someone normally spends, or where they normally show, to identify potentially fraudulent credit card transactions</a:t>
            </a:r>
          </a:p>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10</a:t>
            </a:fld>
            <a:endParaRPr lang="en-US" dirty="0"/>
          </a:p>
        </p:txBody>
      </p:sp>
    </p:spTree>
    <p:extLst>
      <p:ext uri="{BB962C8B-B14F-4D97-AF65-F5344CB8AC3E}">
        <p14:creationId xmlns:p14="http://schemas.microsoft.com/office/powerpoint/2010/main" val="21781688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Recommendation algorithms</a:t>
            </a:r>
          </a:p>
          <a:p>
            <a:r>
              <a:rPr lang="en-US" b="0" dirty="0"/>
              <a:t>Image analysis and object detection – ML can analyze images for different information like learning to identify people and tell them apart</a:t>
            </a:r>
          </a:p>
          <a:p>
            <a:r>
              <a:rPr lang="en-US" b="0" dirty="0"/>
              <a:t>Fraud Detection – How someone normally spends, or where they normally show, to identify potentially fraudulent credit card transactions</a:t>
            </a:r>
          </a:p>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11</a:t>
            </a:fld>
            <a:endParaRPr lang="en-US" dirty="0"/>
          </a:p>
        </p:txBody>
      </p:sp>
    </p:spTree>
    <p:extLst>
      <p:ext uri="{BB962C8B-B14F-4D97-AF65-F5344CB8AC3E}">
        <p14:creationId xmlns:p14="http://schemas.microsoft.com/office/powerpoint/2010/main" val="2855508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374151"/>
                </a:solidFill>
                <a:effectLst/>
                <a:latin typeface="Söhne"/>
              </a:rPr>
              <a:t>QUESTION:  What are the main privacy risks when using CHATGPT?</a:t>
            </a:r>
          </a:p>
          <a:p>
            <a:pPr algn="l"/>
            <a:endParaRPr lang="en-US" b="0" i="0" dirty="0">
              <a:solidFill>
                <a:srgbClr val="374151"/>
              </a:solidFill>
              <a:effectLst/>
              <a:latin typeface="Söhne"/>
            </a:endParaRPr>
          </a:p>
          <a:p>
            <a:pPr algn="l"/>
            <a:r>
              <a:rPr lang="en-US" b="1" i="0" dirty="0">
                <a:solidFill>
                  <a:srgbClr val="374151"/>
                </a:solidFill>
                <a:effectLst/>
                <a:latin typeface="Söhne"/>
              </a:rPr>
              <a:t>ANSWER:  </a:t>
            </a:r>
            <a:r>
              <a:rPr lang="en-US" b="0" i="0" dirty="0">
                <a:solidFill>
                  <a:srgbClr val="374151"/>
                </a:solidFill>
                <a:effectLst/>
                <a:latin typeface="Söhne"/>
              </a:rPr>
              <a:t>When using ChatGPT or similar language models, there are several privacy risks to consider:</a:t>
            </a:r>
          </a:p>
          <a:p>
            <a:pPr algn="l"/>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Data Storage: </a:t>
            </a:r>
            <a:r>
              <a:rPr lang="en-US" b="0" i="0" dirty="0">
                <a:solidFill>
                  <a:srgbClr val="374151"/>
                </a:solidFill>
                <a:effectLst/>
                <a:latin typeface="Söhne"/>
              </a:rPr>
              <a:t>When interacting with a chatbot, your conversations and queries are typically logged and stored. While the purpose of storing this data is to improve the model and enhance user experience, there is a risk that sensitive information shared during conversations could be accessed or breached.</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Information Leakage</a:t>
            </a:r>
            <a:r>
              <a:rPr lang="en-US" b="0" i="0" dirty="0">
                <a:solidFill>
                  <a:srgbClr val="374151"/>
                </a:solidFill>
                <a:effectLst/>
                <a:latin typeface="Söhne"/>
              </a:rPr>
              <a:t>: Language models like ChatGPT generate responses based on patterns and examples learned from the training data. In some cases, this could result in unintended disclosure of sensitive information. If you inadvertently provide personal, financial, or confidential information, there is a possibility that the model could include it in its responses.</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Re-identification: </a:t>
            </a:r>
            <a:r>
              <a:rPr lang="en-US" b="0" i="0" dirty="0">
                <a:solidFill>
                  <a:srgbClr val="374151"/>
                </a:solidFill>
                <a:effectLst/>
                <a:latin typeface="Söhne"/>
              </a:rPr>
              <a:t>Even if you don't directly share personally identifiable information (PII), it is still possible to be re-identified based on seemingly innocuous details. If you discuss specific locations, events, or unique experiences, someone with access to the chat logs might be able to associate those details with your identity.</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Third-Party Integrations: </a:t>
            </a:r>
            <a:r>
              <a:rPr lang="en-US" b="0" i="0" dirty="0">
                <a:solidFill>
                  <a:srgbClr val="374151"/>
                </a:solidFill>
                <a:effectLst/>
                <a:latin typeface="Söhne"/>
              </a:rPr>
              <a:t>ChatGPT can be integrated into various platforms and applications, allowing developers to extend its functionality. However, these integrations may involve sharing data with third-party services, which could potentially compromise your privacy. It's important to review the privacy policies and terms of service of the applications that use ChatGPT.</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Contextual Awareness: </a:t>
            </a:r>
            <a:r>
              <a:rPr lang="en-US" b="0" i="0" dirty="0">
                <a:solidFill>
                  <a:srgbClr val="374151"/>
                </a:solidFill>
                <a:effectLst/>
                <a:latin typeface="Söhne"/>
              </a:rPr>
              <a:t>Language models like ChatGPT lack context beyond the current conversation. As a result, they may not remember the details of previous interactions. While this can be beneficial for privacy, it may also lead to a loss of context and result in repetitive or inconsistent responses.</a:t>
            </a:r>
          </a:p>
          <a:p>
            <a:pPr algn="l">
              <a:buFont typeface="+mj-lt"/>
              <a:buAutoNum type="arabicPeriod"/>
            </a:pPr>
            <a:endParaRPr lang="en-US" b="0" i="0" dirty="0">
              <a:solidFill>
                <a:srgbClr val="374151"/>
              </a:solidFill>
              <a:effectLst/>
              <a:latin typeface="Söhne"/>
            </a:endParaRPr>
          </a:p>
          <a:p>
            <a:pPr algn="l">
              <a:buFont typeface="+mj-lt"/>
              <a:buNone/>
            </a:pPr>
            <a:r>
              <a:rPr lang="en-US" b="0" i="0" dirty="0">
                <a:solidFill>
                  <a:srgbClr val="374151"/>
                </a:solidFill>
                <a:effectLst/>
                <a:latin typeface="Söhne"/>
              </a:rPr>
              <a:t>ANY OTHER RISKS?</a:t>
            </a:r>
          </a:p>
          <a:p>
            <a:pPr algn="l">
              <a:buFont typeface="+mj-lt"/>
              <a:buNone/>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User Profiling: </a:t>
            </a:r>
            <a:r>
              <a:rPr lang="en-US" b="0" i="0" dirty="0">
                <a:solidFill>
                  <a:srgbClr val="374151"/>
                </a:solidFill>
                <a:effectLst/>
                <a:latin typeface="Söhne"/>
              </a:rPr>
              <a:t>The conversations you have with ChatGPT could be used to build a profile of your interests, preferences, and behaviors. This profile could be utilized for targeted advertising, personalized content, or even shared with third parties without your knowledge or consent.</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Algorithmic Bias: </a:t>
            </a:r>
            <a:r>
              <a:rPr lang="en-US" b="0" i="0" dirty="0">
                <a:solidFill>
                  <a:srgbClr val="374151"/>
                </a:solidFill>
                <a:effectLst/>
                <a:latin typeface="Söhne"/>
              </a:rPr>
              <a:t>Language models like ChatGPT are trained on large datasets that may contain biases present in the data. This can lead to biased or discriminatory responses. If these biases are not addressed, it can perpetuate societal inequalities and reinforce stereotypes.</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Manipulation and Social Engineering: </a:t>
            </a:r>
            <a:r>
              <a:rPr lang="en-US" b="0" i="0" dirty="0">
                <a:solidFill>
                  <a:srgbClr val="374151"/>
                </a:solidFill>
                <a:effectLst/>
                <a:latin typeface="Söhne"/>
              </a:rPr>
              <a:t>ChatGPT has the ability to generate persuasive and convincing responses, which can be exploited by malicious actors for social engineering purposes. They can use the model to trick users into revealing sensitive information or engaging in harmful actions.</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Phishing Attacks: </a:t>
            </a:r>
            <a:r>
              <a:rPr lang="en-US" b="0" i="0" dirty="0">
                <a:solidFill>
                  <a:srgbClr val="374151"/>
                </a:solidFill>
                <a:effectLst/>
                <a:latin typeface="Söhne"/>
              </a:rPr>
              <a:t>Adversaries can use language models to craft sophisticated phishing attacks. They can generate highly realistic messages that imitate legitimate organizations, leading users to disclose sensitive information, click on malicious links, or perform actions that compromise their security.</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Lack of Control: </a:t>
            </a:r>
            <a:r>
              <a:rPr lang="en-US" b="0" i="0" dirty="0">
                <a:solidFill>
                  <a:srgbClr val="374151"/>
                </a:solidFill>
                <a:effectLst/>
                <a:latin typeface="Söhne"/>
              </a:rPr>
              <a:t>As a user, you have limited control over how your data is used or shared beyond what is stated in the platform's privacy policy. The data you provide during interactions may be stored, analyzed, and potentially used for purposes that you are not aware of or did not explicitly consent to.</a:t>
            </a:r>
          </a:p>
          <a:p>
            <a:pPr algn="l"/>
            <a:endParaRPr lang="en-US"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fld id="{006BE02D-20C0-F840-AFAC-BEA99C74FDC2}" type="slidenum">
              <a:rPr lang="en-US" smtClean="0"/>
              <a:pPr/>
              <a:t>13</a:t>
            </a:fld>
            <a:endParaRPr lang="en-US" dirty="0"/>
          </a:p>
        </p:txBody>
      </p:sp>
    </p:spTree>
    <p:extLst>
      <p:ext uri="{BB962C8B-B14F-4D97-AF65-F5344CB8AC3E}">
        <p14:creationId xmlns:p14="http://schemas.microsoft.com/office/powerpoint/2010/main" val="1612127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374151"/>
                </a:solidFill>
                <a:effectLst/>
                <a:latin typeface="Söhne"/>
              </a:rPr>
              <a:t>QUESTION:  What are the main privacy risks when using CHATGPT?</a:t>
            </a:r>
          </a:p>
          <a:p>
            <a:pPr algn="l"/>
            <a:endParaRPr lang="en-US" b="0" i="0" dirty="0">
              <a:solidFill>
                <a:srgbClr val="374151"/>
              </a:solidFill>
              <a:effectLst/>
              <a:latin typeface="Söhne"/>
            </a:endParaRPr>
          </a:p>
          <a:p>
            <a:pPr algn="l"/>
            <a:r>
              <a:rPr lang="en-US" b="1" i="0" dirty="0">
                <a:solidFill>
                  <a:srgbClr val="374151"/>
                </a:solidFill>
                <a:effectLst/>
                <a:latin typeface="Söhne"/>
              </a:rPr>
              <a:t>ANSWER:  </a:t>
            </a:r>
            <a:r>
              <a:rPr lang="en-US" b="0" i="0" dirty="0">
                <a:solidFill>
                  <a:srgbClr val="374151"/>
                </a:solidFill>
                <a:effectLst/>
                <a:latin typeface="Söhne"/>
              </a:rPr>
              <a:t>When using ChatGPT or similar language models, there are several privacy risks to consider:</a:t>
            </a:r>
          </a:p>
          <a:p>
            <a:pPr algn="l"/>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Data Storage: </a:t>
            </a:r>
            <a:r>
              <a:rPr lang="en-US" b="0" i="0" dirty="0">
                <a:solidFill>
                  <a:srgbClr val="374151"/>
                </a:solidFill>
                <a:effectLst/>
                <a:latin typeface="Söhne"/>
              </a:rPr>
              <a:t>When interacting with a chatbot, your conversations and queries are typically logged and stored. While the purpose of storing this data is to improve the model and enhance user experience, there is a risk that sensitive information shared during conversations could be accessed or breached.</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Information Leakage</a:t>
            </a:r>
            <a:r>
              <a:rPr lang="en-US" b="0" i="0" dirty="0">
                <a:solidFill>
                  <a:srgbClr val="374151"/>
                </a:solidFill>
                <a:effectLst/>
                <a:latin typeface="Söhne"/>
              </a:rPr>
              <a:t>: Language models like ChatGPT generate responses based on patterns and examples learned from the training data. In some cases, this could result in unintended disclosure of sensitive information. If you inadvertently provide personal, financial, or confidential information, there is a possibility that the model could include it in its responses.</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Re-identification: </a:t>
            </a:r>
            <a:r>
              <a:rPr lang="en-US" b="0" i="0" dirty="0">
                <a:solidFill>
                  <a:srgbClr val="374151"/>
                </a:solidFill>
                <a:effectLst/>
                <a:latin typeface="Söhne"/>
              </a:rPr>
              <a:t>Even if you don't directly share personally identifiable information (PII), it is still possible to be re-identified based on seemingly innocuous details. If you discuss specific locations, events, or unique experiences, someone with access to the chat logs might be able to associate those details with your identity.</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Third-Party Integrations: </a:t>
            </a:r>
            <a:r>
              <a:rPr lang="en-US" b="0" i="0" dirty="0">
                <a:solidFill>
                  <a:srgbClr val="374151"/>
                </a:solidFill>
                <a:effectLst/>
                <a:latin typeface="Söhne"/>
              </a:rPr>
              <a:t>ChatGPT can be integrated into various platforms and applications, allowing developers to extend its functionality. However, these integrations may involve sharing data with third-party services, which could potentially compromise your privacy. It's important to review the privacy policies and terms of service of the applications that use ChatGPT.</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Contextual Awareness: </a:t>
            </a:r>
            <a:r>
              <a:rPr lang="en-US" b="0" i="0" dirty="0">
                <a:solidFill>
                  <a:srgbClr val="374151"/>
                </a:solidFill>
                <a:effectLst/>
                <a:latin typeface="Söhne"/>
              </a:rPr>
              <a:t>Language models like ChatGPT lack context beyond the current conversation. As a result, they may not remember the details of previous interactions. While this can be beneficial for privacy, it may also lead to a loss of context and result in repetitive or inconsistent responses.</a:t>
            </a:r>
          </a:p>
          <a:p>
            <a:pPr algn="l">
              <a:buFont typeface="+mj-lt"/>
              <a:buAutoNum type="arabicPeriod"/>
            </a:pPr>
            <a:endParaRPr lang="en-US" b="0" i="0" dirty="0">
              <a:solidFill>
                <a:srgbClr val="374151"/>
              </a:solidFill>
              <a:effectLst/>
              <a:latin typeface="Söhne"/>
            </a:endParaRPr>
          </a:p>
          <a:p>
            <a:pPr algn="l">
              <a:buFont typeface="+mj-lt"/>
              <a:buNone/>
            </a:pPr>
            <a:r>
              <a:rPr lang="en-US" b="0" i="0" dirty="0">
                <a:solidFill>
                  <a:srgbClr val="374151"/>
                </a:solidFill>
                <a:effectLst/>
                <a:latin typeface="Söhne"/>
              </a:rPr>
              <a:t>ANY OTHER RISKS?</a:t>
            </a:r>
          </a:p>
          <a:p>
            <a:pPr algn="l">
              <a:buFont typeface="+mj-lt"/>
              <a:buNone/>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User Profiling: </a:t>
            </a:r>
            <a:r>
              <a:rPr lang="en-US" b="0" i="0" dirty="0">
                <a:solidFill>
                  <a:srgbClr val="374151"/>
                </a:solidFill>
                <a:effectLst/>
                <a:latin typeface="Söhne"/>
              </a:rPr>
              <a:t>The conversations you have with ChatGPT could be used to build a profile of your interests, preferences, and behaviors. This profile could be utilized for targeted advertising, personalized content, or even shared with third parties without your knowledge or consent.</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Algorithmic Bias: </a:t>
            </a:r>
            <a:r>
              <a:rPr lang="en-US" b="0" i="0" dirty="0">
                <a:solidFill>
                  <a:srgbClr val="374151"/>
                </a:solidFill>
                <a:effectLst/>
                <a:latin typeface="Söhne"/>
              </a:rPr>
              <a:t>Language models like ChatGPT are trained on large datasets that may contain biases present in the data. This can lead to biased or discriminatory responses. If these biases are not addressed, it can perpetuate societal inequalities and reinforce stereotypes.</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Manipulation and Social Engineering: </a:t>
            </a:r>
            <a:r>
              <a:rPr lang="en-US" b="0" i="0" dirty="0">
                <a:solidFill>
                  <a:srgbClr val="374151"/>
                </a:solidFill>
                <a:effectLst/>
                <a:latin typeface="Söhne"/>
              </a:rPr>
              <a:t>ChatGPT has the ability to generate persuasive and convincing responses, which can be exploited by malicious actors for social engineering purposes. They can use the model to trick users into revealing sensitive information or engaging in harmful actions.</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Phishing Attacks: </a:t>
            </a:r>
            <a:r>
              <a:rPr lang="en-US" b="0" i="0" dirty="0">
                <a:solidFill>
                  <a:srgbClr val="374151"/>
                </a:solidFill>
                <a:effectLst/>
                <a:latin typeface="Söhne"/>
              </a:rPr>
              <a:t>Adversaries can use language models to craft sophisticated phishing attacks. They can generate highly realistic messages that imitate legitimate organizations, leading users to disclose sensitive information, click on malicious links, or perform actions that compromise their security.</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Lack of Control: </a:t>
            </a:r>
            <a:r>
              <a:rPr lang="en-US" b="0" i="0" dirty="0">
                <a:solidFill>
                  <a:srgbClr val="374151"/>
                </a:solidFill>
                <a:effectLst/>
                <a:latin typeface="Söhne"/>
              </a:rPr>
              <a:t>As a user, you have limited control over how your data is used or shared beyond what is stated in the platform's privacy policy. The data you provide during interactions may be stored, analyzed, and potentially used for purposes that you are not aware of or did not explicitly consent to.</a:t>
            </a:r>
          </a:p>
          <a:p>
            <a:pPr algn="l"/>
            <a:endParaRPr lang="en-US"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fld id="{006BE02D-20C0-F840-AFAC-BEA99C74FDC2}" type="slidenum">
              <a:rPr lang="en-US" smtClean="0"/>
              <a:pPr/>
              <a:t>15</a:t>
            </a:fld>
            <a:endParaRPr lang="en-US" dirty="0"/>
          </a:p>
        </p:txBody>
      </p:sp>
    </p:spTree>
    <p:extLst>
      <p:ext uri="{BB962C8B-B14F-4D97-AF65-F5344CB8AC3E}">
        <p14:creationId xmlns:p14="http://schemas.microsoft.com/office/powerpoint/2010/main" val="942253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374151"/>
                </a:solidFill>
                <a:effectLst/>
                <a:latin typeface="Söhne"/>
              </a:rPr>
              <a:t>QUESTION:  What are the main privacy risks when using CHATGPT?</a:t>
            </a:r>
          </a:p>
          <a:p>
            <a:pPr algn="l"/>
            <a:endParaRPr lang="en-US" b="0" i="0" dirty="0">
              <a:solidFill>
                <a:srgbClr val="374151"/>
              </a:solidFill>
              <a:effectLst/>
              <a:latin typeface="Söhne"/>
            </a:endParaRPr>
          </a:p>
          <a:p>
            <a:pPr algn="l"/>
            <a:r>
              <a:rPr lang="en-US" b="1" i="0" dirty="0">
                <a:solidFill>
                  <a:srgbClr val="374151"/>
                </a:solidFill>
                <a:effectLst/>
                <a:latin typeface="Söhne"/>
              </a:rPr>
              <a:t>ANSWER:  </a:t>
            </a:r>
            <a:r>
              <a:rPr lang="en-US" b="0" i="0" dirty="0">
                <a:solidFill>
                  <a:srgbClr val="374151"/>
                </a:solidFill>
                <a:effectLst/>
                <a:latin typeface="Söhne"/>
              </a:rPr>
              <a:t>When using ChatGPT or similar language models, there are several privacy risks to consider:</a:t>
            </a:r>
          </a:p>
          <a:p>
            <a:pPr algn="l"/>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Data Storage: </a:t>
            </a:r>
            <a:r>
              <a:rPr lang="en-US" b="0" i="0" dirty="0">
                <a:solidFill>
                  <a:srgbClr val="374151"/>
                </a:solidFill>
                <a:effectLst/>
                <a:latin typeface="Söhne"/>
              </a:rPr>
              <a:t>When interacting with a chatbot, your conversations and queries are typically logged and stored. While the purpose of storing this data is to improve the model and enhance user experience, there is a risk that sensitive information shared during conversations could be accessed or breached.</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Information Leakage</a:t>
            </a:r>
            <a:r>
              <a:rPr lang="en-US" b="0" i="0" dirty="0">
                <a:solidFill>
                  <a:srgbClr val="374151"/>
                </a:solidFill>
                <a:effectLst/>
                <a:latin typeface="Söhne"/>
              </a:rPr>
              <a:t>: Language models like ChatGPT generate responses based on patterns and examples learned from the training data. In some cases, this could result in unintended disclosure of sensitive information. If you inadvertently provide personal, financial, or confidential information, there is a possibility that the model could include it in its responses.</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Re-identification: </a:t>
            </a:r>
            <a:r>
              <a:rPr lang="en-US" b="0" i="0" dirty="0">
                <a:solidFill>
                  <a:srgbClr val="374151"/>
                </a:solidFill>
                <a:effectLst/>
                <a:latin typeface="Söhne"/>
              </a:rPr>
              <a:t>Even if you don't directly share personally identifiable information (PII), it is still possible to be re-identified based on seemingly innocuous details. If you discuss specific locations, events, or unique experiences, someone with access to the chat logs might be able to associate those details with your identity.</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Third-Party Integrations: </a:t>
            </a:r>
            <a:r>
              <a:rPr lang="en-US" b="0" i="0" dirty="0">
                <a:solidFill>
                  <a:srgbClr val="374151"/>
                </a:solidFill>
                <a:effectLst/>
                <a:latin typeface="Söhne"/>
              </a:rPr>
              <a:t>ChatGPT can be integrated into various platforms and applications, allowing developers to extend its functionality. However, these integrations may involve sharing data with third-party services, which could potentially compromise your privacy. It's important to review the privacy policies and terms of service of the applications that use ChatGPT.</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Contextual Awareness: </a:t>
            </a:r>
            <a:r>
              <a:rPr lang="en-US" b="0" i="0" dirty="0">
                <a:solidFill>
                  <a:srgbClr val="374151"/>
                </a:solidFill>
                <a:effectLst/>
                <a:latin typeface="Söhne"/>
              </a:rPr>
              <a:t>Language models like ChatGPT lack context beyond the current conversation. As a result, they may not remember the details of previous interactions. While this can be beneficial for privacy, it may also lead to a loss of context and result in repetitive or inconsistent responses.</a:t>
            </a:r>
          </a:p>
          <a:p>
            <a:pPr algn="l">
              <a:buFont typeface="+mj-lt"/>
              <a:buAutoNum type="arabicPeriod"/>
            </a:pPr>
            <a:endParaRPr lang="en-US" b="0" i="0" dirty="0">
              <a:solidFill>
                <a:srgbClr val="374151"/>
              </a:solidFill>
              <a:effectLst/>
              <a:latin typeface="Söhne"/>
            </a:endParaRPr>
          </a:p>
          <a:p>
            <a:pPr algn="l">
              <a:buFont typeface="+mj-lt"/>
              <a:buNone/>
            </a:pPr>
            <a:r>
              <a:rPr lang="en-US" b="0" i="0" dirty="0">
                <a:solidFill>
                  <a:srgbClr val="374151"/>
                </a:solidFill>
                <a:effectLst/>
                <a:latin typeface="Söhne"/>
              </a:rPr>
              <a:t>ANY OTHER RISKS?</a:t>
            </a:r>
          </a:p>
          <a:p>
            <a:pPr algn="l">
              <a:buFont typeface="+mj-lt"/>
              <a:buNone/>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User Profiling: </a:t>
            </a:r>
            <a:r>
              <a:rPr lang="en-US" b="0" i="0" dirty="0">
                <a:solidFill>
                  <a:srgbClr val="374151"/>
                </a:solidFill>
                <a:effectLst/>
                <a:latin typeface="Söhne"/>
              </a:rPr>
              <a:t>The conversations you have with ChatGPT could be used to build a profile of your interests, preferences, and behaviors. This profile could be utilized for targeted advertising, personalized content, or even shared with third parties without your knowledge or consent.</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Algorithmic Bias: </a:t>
            </a:r>
            <a:r>
              <a:rPr lang="en-US" b="0" i="0" dirty="0">
                <a:solidFill>
                  <a:srgbClr val="374151"/>
                </a:solidFill>
                <a:effectLst/>
                <a:latin typeface="Söhne"/>
              </a:rPr>
              <a:t>Language models like ChatGPT are trained on large datasets that may contain biases present in the data. This can lead to biased or discriminatory responses. If these biases are not addressed, it can perpetuate societal inequalities and reinforce stereotypes.</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Manipulation and Social Engineering: </a:t>
            </a:r>
            <a:r>
              <a:rPr lang="en-US" b="0" i="0" dirty="0">
                <a:solidFill>
                  <a:srgbClr val="374151"/>
                </a:solidFill>
                <a:effectLst/>
                <a:latin typeface="Söhne"/>
              </a:rPr>
              <a:t>ChatGPT has the ability to generate persuasive and convincing responses, which can be exploited by malicious actors for social engineering purposes. They can use the model to trick users into revealing sensitive information or engaging in harmful actions.</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Phishing Attacks: </a:t>
            </a:r>
            <a:r>
              <a:rPr lang="en-US" b="0" i="0" dirty="0">
                <a:solidFill>
                  <a:srgbClr val="374151"/>
                </a:solidFill>
                <a:effectLst/>
                <a:latin typeface="Söhne"/>
              </a:rPr>
              <a:t>Adversaries can use language models to craft sophisticated phishing attacks. They can generate highly realistic messages that imitate legitimate organizations, leading users to disclose sensitive information, click on malicious links, or perform actions that compromise their security.</a:t>
            </a:r>
          </a:p>
          <a:p>
            <a:pPr algn="l">
              <a:buFont typeface="+mj-lt"/>
              <a:buAutoNum type="arabicPeriod"/>
            </a:pPr>
            <a:endParaRPr lang="en-US" b="0" i="0" dirty="0">
              <a:solidFill>
                <a:srgbClr val="374151"/>
              </a:solidFill>
              <a:effectLst/>
              <a:latin typeface="Söhne"/>
            </a:endParaRPr>
          </a:p>
          <a:p>
            <a:pPr algn="l">
              <a:buFont typeface="+mj-lt"/>
              <a:buAutoNum type="arabicPeriod"/>
            </a:pPr>
            <a:r>
              <a:rPr lang="en-US" b="1" i="0" dirty="0">
                <a:solidFill>
                  <a:srgbClr val="374151"/>
                </a:solidFill>
                <a:effectLst/>
                <a:latin typeface="Söhne"/>
              </a:rPr>
              <a:t>Lack of Control: </a:t>
            </a:r>
            <a:r>
              <a:rPr lang="en-US" b="0" i="0" dirty="0">
                <a:solidFill>
                  <a:srgbClr val="374151"/>
                </a:solidFill>
                <a:effectLst/>
                <a:latin typeface="Söhne"/>
              </a:rPr>
              <a:t>As a user, you have limited control over how your data is used or shared beyond what is stated in the platform's privacy policy. The data you provide during interactions may be stored, analyzed, and potentially used for purposes that you are not aware of or did not explicitly consent to.</a:t>
            </a:r>
          </a:p>
          <a:p>
            <a:pPr algn="l"/>
            <a:endParaRPr lang="en-US" b="0" i="0" dirty="0">
              <a:solidFill>
                <a:srgbClr val="374151"/>
              </a:solidFill>
              <a:effectLst/>
              <a:latin typeface="Söhne"/>
            </a:endParaRPr>
          </a:p>
        </p:txBody>
      </p:sp>
      <p:sp>
        <p:nvSpPr>
          <p:cNvPr id="4" name="Slide Number Placeholder 3"/>
          <p:cNvSpPr>
            <a:spLocks noGrp="1"/>
          </p:cNvSpPr>
          <p:nvPr>
            <p:ph type="sldNum" sz="quarter" idx="5"/>
          </p:nvPr>
        </p:nvSpPr>
        <p:spPr/>
        <p:txBody>
          <a:bodyPr/>
          <a:lstStyle/>
          <a:p>
            <a:fld id="{006BE02D-20C0-F840-AFAC-BEA99C74FDC2}" type="slidenum">
              <a:rPr lang="en-US" smtClean="0"/>
              <a:pPr/>
              <a:t>19</a:t>
            </a:fld>
            <a:endParaRPr lang="en-US" dirty="0"/>
          </a:p>
        </p:txBody>
      </p:sp>
    </p:spTree>
    <p:extLst>
      <p:ext uri="{BB962C8B-B14F-4D97-AF65-F5344CB8AC3E}">
        <p14:creationId xmlns:p14="http://schemas.microsoft.com/office/powerpoint/2010/main" val="30854326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09" rtl="0" eaLnBrk="1" fontAlgn="auto" latinLnBrk="0" hangingPunct="1">
              <a:lnSpc>
                <a:spcPct val="100000"/>
              </a:lnSpc>
              <a:spcBef>
                <a:spcPts val="0"/>
              </a:spcBef>
              <a:spcAft>
                <a:spcPts val="0"/>
              </a:spcAft>
              <a:buClrTx/>
              <a:buSzTx/>
              <a:buFontTx/>
              <a:buNone/>
              <a:tabLst/>
              <a:defRPr/>
            </a:pPr>
            <a:r>
              <a:rPr lang="en-US" dirty="0"/>
              <a:t>GUARDRAILS – consider accuracy, reliance, checking results (1</a:t>
            </a:r>
            <a:r>
              <a:rPr lang="en-US" baseline="30000" dirty="0"/>
              <a:t>st</a:t>
            </a:r>
            <a:r>
              <a:rPr lang="en-US" dirty="0"/>
              <a:t> year associate analogy)</a:t>
            </a:r>
          </a:p>
          <a:p>
            <a:pPr marL="0" marR="0" lvl="0" indent="0" algn="l" defTabSz="457109" rtl="0" eaLnBrk="1" fontAlgn="auto" latinLnBrk="0" hangingPunct="1">
              <a:lnSpc>
                <a:spcPct val="100000"/>
              </a:lnSpc>
              <a:spcBef>
                <a:spcPts val="0"/>
              </a:spcBef>
              <a:spcAft>
                <a:spcPts val="0"/>
              </a:spcAft>
              <a:buClrTx/>
              <a:buSzTx/>
              <a:buFontTx/>
              <a:buNone/>
              <a:tabLst/>
              <a:defRPr/>
            </a:pPr>
            <a:endParaRPr lang="en-US" dirty="0"/>
          </a:p>
          <a:p>
            <a:r>
              <a:rPr lang="en-US" b="0" dirty="0"/>
              <a:t>https://www.bakerdonelson.com/workplace-discrimination-lawsuits-juries-wont-blame-ai-theyll-blame-you</a:t>
            </a:r>
          </a:p>
          <a:p>
            <a:endParaRPr lang="en-US" b="0" dirty="0"/>
          </a:p>
          <a:p>
            <a:r>
              <a:rPr lang="en-US" b="0" dirty="0"/>
              <a:t>Regarding HR use in particular, </a:t>
            </a:r>
            <a:r>
              <a:rPr lang="en-US" b="1" i="0" dirty="0">
                <a:solidFill>
                  <a:srgbClr val="006983"/>
                </a:solidFill>
                <a:effectLst/>
                <a:latin typeface="ITC Berkeley Old Style W01"/>
              </a:rPr>
              <a:t>Workplace discrimination claims remain one of the most significant areas of legal exposure for employers, from hiring to firing and everything in between. An employer's reliance on artificial intelligence (AI), especially in the hiring process, does not lessen this exposure.</a:t>
            </a:r>
          </a:p>
          <a:p>
            <a:endParaRPr lang="en-US" b="1" i="0" dirty="0">
              <a:solidFill>
                <a:srgbClr val="006983"/>
              </a:solidFill>
              <a:effectLst/>
              <a:latin typeface="ITC Berkeley Old Style W01"/>
            </a:endParaRPr>
          </a:p>
          <a:p>
            <a:pPr algn="l"/>
            <a:r>
              <a:rPr lang="en-US" b="0" i="0" dirty="0">
                <a:solidFill>
                  <a:srgbClr val="000000"/>
                </a:solidFill>
                <a:effectLst/>
                <a:latin typeface="ITC Berkeley Old Style W01"/>
              </a:rPr>
              <a:t>With ever-increasing urgencies, employers have been turning to AI, especially with respect to hiring and HR functions. Employers, for example, often turn to AI for their initial review of résumés and applications. Whether pre-programmed or specifically designed for an employer, AI tools then evaluate, select, and discard applicants – usually in the blink of an eye. In the eyes of the law, these actions are evaluated no differently than if they were performed by people. It does not matter that AI was involved.</a:t>
            </a:r>
          </a:p>
          <a:p>
            <a:pPr algn="l"/>
            <a:endParaRPr lang="en-US" b="0" i="0" dirty="0">
              <a:solidFill>
                <a:srgbClr val="000000"/>
              </a:solidFill>
              <a:effectLst/>
              <a:latin typeface="ITC Berkeley Old Style W01"/>
            </a:endParaRPr>
          </a:p>
          <a:p>
            <a:pPr algn="l"/>
            <a:r>
              <a:rPr lang="en-US" b="0" i="0" dirty="0">
                <a:solidFill>
                  <a:srgbClr val="000000"/>
                </a:solidFill>
                <a:effectLst/>
                <a:latin typeface="ITC Berkeley Old Style W01"/>
              </a:rPr>
              <a:t>If a company uses AI and it results in a disparate impact on, say, female applicants, the fact that AI was involved will have no bearing on the impact claims that follow. </a:t>
            </a:r>
            <a:r>
              <a:rPr lang="en-US" b="1" i="0" dirty="0">
                <a:solidFill>
                  <a:srgbClr val="000000"/>
                </a:solidFill>
                <a:effectLst/>
                <a:latin typeface="ITC Berkeley Old Style W01"/>
              </a:rPr>
              <a:t>The use of AI not a defense to discrimination claims</a:t>
            </a:r>
            <a:r>
              <a:rPr lang="en-US" b="0" i="0" dirty="0">
                <a:solidFill>
                  <a:srgbClr val="000000"/>
                </a:solidFill>
                <a:effectLst/>
                <a:latin typeface="ITC Berkeley Old Style W01"/>
              </a:rPr>
              <a:t>.</a:t>
            </a:r>
          </a:p>
          <a:p>
            <a:endParaRPr lang="en-US" b="0" dirty="0"/>
          </a:p>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22</a:t>
            </a:fld>
            <a:endParaRPr lang="en-US" dirty="0"/>
          </a:p>
        </p:txBody>
      </p:sp>
    </p:spTree>
    <p:extLst>
      <p:ext uri="{BB962C8B-B14F-4D97-AF65-F5344CB8AC3E}">
        <p14:creationId xmlns:p14="http://schemas.microsoft.com/office/powerpoint/2010/main" val="2866503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109" rtl="0" eaLnBrk="1" fontAlgn="auto" latinLnBrk="0" hangingPunct="1">
              <a:lnSpc>
                <a:spcPct val="100000"/>
              </a:lnSpc>
              <a:spcBef>
                <a:spcPts val="0"/>
              </a:spcBef>
              <a:spcAft>
                <a:spcPts val="0"/>
              </a:spcAft>
              <a:buClrTx/>
              <a:buSzTx/>
              <a:buFontTx/>
              <a:buNone/>
              <a:tabLst/>
              <a:defRPr/>
            </a:pPr>
            <a:r>
              <a:rPr lang="en-US" dirty="0"/>
              <a:t>GUARDRAILS – consider accuracy, reliance, checking results (1</a:t>
            </a:r>
            <a:r>
              <a:rPr lang="en-US" baseline="30000" dirty="0"/>
              <a:t>st</a:t>
            </a:r>
            <a:r>
              <a:rPr lang="en-US" dirty="0"/>
              <a:t> year associate analogy)</a:t>
            </a:r>
          </a:p>
          <a:p>
            <a:pPr marL="0" marR="0" lvl="0" indent="0" algn="l" defTabSz="457109" rtl="0" eaLnBrk="1" fontAlgn="auto" latinLnBrk="0" hangingPunct="1">
              <a:lnSpc>
                <a:spcPct val="100000"/>
              </a:lnSpc>
              <a:spcBef>
                <a:spcPts val="0"/>
              </a:spcBef>
              <a:spcAft>
                <a:spcPts val="0"/>
              </a:spcAft>
              <a:buClrTx/>
              <a:buSzTx/>
              <a:buFontTx/>
              <a:buNone/>
              <a:tabLst/>
              <a:defRPr/>
            </a:pPr>
            <a:endParaRPr lang="en-US" dirty="0"/>
          </a:p>
          <a:p>
            <a:r>
              <a:rPr lang="en-US" b="0" dirty="0"/>
              <a:t>https://www.bakerdonelson.com/workplace-discrimination-lawsuits-juries-wont-blame-ai-theyll-blame-you</a:t>
            </a:r>
          </a:p>
          <a:p>
            <a:endParaRPr lang="en-US" b="0" dirty="0"/>
          </a:p>
          <a:p>
            <a:r>
              <a:rPr lang="en-US" b="0" dirty="0"/>
              <a:t>Regarding HR use in particular, </a:t>
            </a:r>
            <a:r>
              <a:rPr lang="en-US" b="1" i="0" dirty="0">
                <a:solidFill>
                  <a:srgbClr val="006983"/>
                </a:solidFill>
                <a:effectLst/>
                <a:latin typeface="ITC Berkeley Old Style W01"/>
              </a:rPr>
              <a:t>Workplace discrimination claims remain one of the most significant areas of legal exposure for employers, from hiring to firing and everything in between. An employer's reliance on artificial intelligence (AI), especially in the hiring process, does not lessen this exposure.</a:t>
            </a:r>
          </a:p>
          <a:p>
            <a:endParaRPr lang="en-US" b="1" i="0" dirty="0">
              <a:solidFill>
                <a:srgbClr val="006983"/>
              </a:solidFill>
              <a:effectLst/>
              <a:latin typeface="ITC Berkeley Old Style W01"/>
            </a:endParaRPr>
          </a:p>
          <a:p>
            <a:pPr algn="l"/>
            <a:r>
              <a:rPr lang="en-US" b="0" i="0" dirty="0">
                <a:solidFill>
                  <a:srgbClr val="000000"/>
                </a:solidFill>
                <a:effectLst/>
                <a:latin typeface="ITC Berkeley Old Style W01"/>
              </a:rPr>
              <a:t>With ever-increasing urgencies, employers have been turning to AI, especially with respect to hiring and HR functions. Employers, for example, often turn to AI for their initial review of résumés and applications. Whether pre-programmed or specifically designed for an employer, AI tools then evaluate, select, and discard applicants – usually in the blink of an eye. In the eyes of the law, these actions are evaluated no differently than if they were performed by people. It does not matter that AI was involved.</a:t>
            </a:r>
          </a:p>
          <a:p>
            <a:pPr algn="l"/>
            <a:endParaRPr lang="en-US" b="0" i="0" dirty="0">
              <a:solidFill>
                <a:srgbClr val="000000"/>
              </a:solidFill>
              <a:effectLst/>
              <a:latin typeface="ITC Berkeley Old Style W01"/>
            </a:endParaRPr>
          </a:p>
          <a:p>
            <a:pPr algn="l"/>
            <a:r>
              <a:rPr lang="en-US" b="0" i="0" dirty="0">
                <a:solidFill>
                  <a:srgbClr val="000000"/>
                </a:solidFill>
                <a:effectLst/>
                <a:latin typeface="ITC Berkeley Old Style W01"/>
              </a:rPr>
              <a:t>If a company uses AI and it results in a disparate impact on, say, female applicants, the fact that AI was involved will have no bearing on the impact claims that follow. </a:t>
            </a:r>
            <a:r>
              <a:rPr lang="en-US" b="1" i="0" dirty="0">
                <a:solidFill>
                  <a:srgbClr val="000000"/>
                </a:solidFill>
                <a:effectLst/>
                <a:latin typeface="ITC Berkeley Old Style W01"/>
              </a:rPr>
              <a:t>The use of AI not a defense to discrimination claims</a:t>
            </a:r>
            <a:r>
              <a:rPr lang="en-US" b="0" i="0" dirty="0">
                <a:solidFill>
                  <a:srgbClr val="000000"/>
                </a:solidFill>
                <a:effectLst/>
                <a:latin typeface="ITC Berkeley Old Style W01"/>
              </a:rPr>
              <a:t>.</a:t>
            </a:r>
          </a:p>
          <a:p>
            <a:endParaRPr lang="en-US" b="0" dirty="0"/>
          </a:p>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24</a:t>
            </a:fld>
            <a:endParaRPr lang="en-US" dirty="0"/>
          </a:p>
        </p:txBody>
      </p:sp>
    </p:spTree>
    <p:extLst>
      <p:ext uri="{BB962C8B-B14F-4D97-AF65-F5344CB8AC3E}">
        <p14:creationId xmlns:p14="http://schemas.microsoft.com/office/powerpoint/2010/main" val="23910588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5.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6.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7.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5.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6.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7.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image" Target="../media/image12.jpg"/><Relationship Id="rId1" Type="http://schemas.openxmlformats.org/officeDocument/2006/relationships/slideMaster" Target="../slideMasters/slideMaster4.xml"/><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7.svg"/><Relationship Id="rId4" Type="http://schemas.openxmlformats.org/officeDocument/2006/relationships/image" Target="../media/image33.svg"/><Relationship Id="rId9" Type="http://schemas.openxmlformats.org/officeDocument/2006/relationships/image" Target="../media/image17.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9.jp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jpg"/><Relationship Id="rId1" Type="http://schemas.openxmlformats.org/officeDocument/2006/relationships/slideMaster" Target="../slideMasters/slideMaster5.xml"/><Relationship Id="rId6" Type="http://schemas.openxmlformats.org/officeDocument/2006/relationships/image" Target="../media/image36.svg"/><Relationship Id="rId5" Type="http://schemas.openxmlformats.org/officeDocument/2006/relationships/image" Target="../media/image15.png"/><Relationship Id="rId4" Type="http://schemas.openxmlformats.org/officeDocument/2006/relationships/image" Target="../media/image33.svg"/><Relationship Id="rId9" Type="http://schemas.openxmlformats.org/officeDocument/2006/relationships/image" Target="../media/image19.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1.jp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jpg"/><Relationship Id="rId1" Type="http://schemas.openxmlformats.org/officeDocument/2006/relationships/slideMaster" Target="../slideMasters/slideMaster1.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 Id="rId9" Type="http://schemas.openxmlformats.org/officeDocument/2006/relationships/image" Target="../media/image19.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4.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9.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jpg"/><Relationship Id="rId1" Type="http://schemas.openxmlformats.org/officeDocument/2006/relationships/slideMaster" Target="../slideMasters/slideMaster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 Id="rId9" Type="http://schemas.openxmlformats.org/officeDocument/2006/relationships/image" Target="../media/image19.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1.jp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2.jp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13.png"/><Relationship Id="rId7" Type="http://schemas.openxmlformats.org/officeDocument/2006/relationships/image" Target="../media/image15.png"/><Relationship Id="rId2" Type="http://schemas.openxmlformats.org/officeDocument/2006/relationships/image" Target="../media/image12.jpg"/><Relationship Id="rId1" Type="http://schemas.openxmlformats.org/officeDocument/2006/relationships/slideMaster" Target="../slideMasters/slideMaster3.xml"/><Relationship Id="rId6" Type="http://schemas.openxmlformats.org/officeDocument/2006/relationships/image" Target="../media/image35.svg"/><Relationship Id="rId5" Type="http://schemas.openxmlformats.org/officeDocument/2006/relationships/image" Target="../media/image34.png"/><Relationship Id="rId10" Type="http://schemas.openxmlformats.org/officeDocument/2006/relationships/image" Target="../media/image37.svg"/><Relationship Id="rId4" Type="http://schemas.openxmlformats.org/officeDocument/2006/relationships/image" Target="../media/image33.svg"/><Relationship Id="rId9" Type="http://schemas.openxmlformats.org/officeDocument/2006/relationships/image" Target="../media/image17.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1.jpg"/><Relationship Id="rId1" Type="http://schemas.openxmlformats.org/officeDocument/2006/relationships/slideMaster" Target="../slideMasters/slideMaster3.xml"/><Relationship Id="rId4" Type="http://schemas.openxmlformats.org/officeDocument/2006/relationships/image" Target="../media/image5.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8.png"/><Relationship Id="rId1" Type="http://schemas.openxmlformats.org/officeDocument/2006/relationships/slideMaster" Target="../slideMasters/slideMaster3.xml"/><Relationship Id="rId4" Type="http://schemas.openxmlformats.org/officeDocument/2006/relationships/image" Target="../media/image39.sv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0.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0.emf"/><Relationship Id="rId4" Type="http://schemas.openxmlformats.org/officeDocument/2006/relationships/oleObject" Target="../embeddings/oleObject2.bin"/></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5.xml"/><Relationship Id="rId5" Type="http://schemas.openxmlformats.org/officeDocument/2006/relationships/image" Target="../media/image41.png"/><Relationship Id="rId4" Type="http://schemas.openxmlformats.org/officeDocument/2006/relationships/image" Target="../media/image40.emf"/></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39.sv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svg"/><Relationship Id="rId2" Type="http://schemas.openxmlformats.org/officeDocument/2006/relationships/slideMaster" Target="../slideMasters/slideMaster4.xml"/><Relationship Id="rId1" Type="http://schemas.openxmlformats.org/officeDocument/2006/relationships/tags" Target="../tags/tag6.xml"/><Relationship Id="rId6" Type="http://schemas.openxmlformats.org/officeDocument/2006/relationships/image" Target="../media/image1.png"/><Relationship Id="rId5" Type="http://schemas.openxmlformats.org/officeDocument/2006/relationships/image" Target="../media/image43.png"/><Relationship Id="rId4" Type="http://schemas.openxmlformats.org/officeDocument/2006/relationships/image" Target="../media/image42.emf"/></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1.pn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7.xml"/><Relationship Id="rId5" Type="http://schemas.openxmlformats.org/officeDocument/2006/relationships/image" Target="../media/image44.png"/><Relationship Id="rId4" Type="http://schemas.openxmlformats.org/officeDocument/2006/relationships/image" Target="../media/image42.e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Option 1">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3"/>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6" name="Text Placeholder 14">
            <a:extLst>
              <a:ext uri="{FF2B5EF4-FFF2-40B4-BE49-F238E27FC236}">
                <a16:creationId xmlns:a16="http://schemas.microsoft.com/office/drawing/2014/main" id="{83700D3F-414D-492E-ADEE-DE8CC0B249E9}"/>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0" name="Text Placeholder 14">
            <a:extLst>
              <a:ext uri="{FF2B5EF4-FFF2-40B4-BE49-F238E27FC236}">
                <a16:creationId xmlns:a16="http://schemas.microsoft.com/office/drawing/2014/main" id="{A6CDB0E7-38EF-4CA7-A30D-ED27914F587A}"/>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2" name="Text Placeholder 14">
            <a:extLst>
              <a:ext uri="{FF2B5EF4-FFF2-40B4-BE49-F238E27FC236}">
                <a16:creationId xmlns:a16="http://schemas.microsoft.com/office/drawing/2014/main" id="{8F187370-3173-49CD-8B91-CC3D7A18C26E}"/>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4999BF73-F9F2-4E1D-830C-FDFB628A31F6}"/>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873931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Subtitle Only - No hash mark">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4" name="TextBox 7">
            <a:extLst>
              <a:ext uri="{FF2B5EF4-FFF2-40B4-BE49-F238E27FC236}">
                <a16:creationId xmlns:a16="http://schemas.microsoft.com/office/drawing/2014/main" id="{2355CB8C-9D42-4F46-82EC-1E66DC48985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9859183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5_Blank">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218670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4_Blank">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3" name="Isosceles Triangle 2">
            <a:extLst>
              <a:ext uri="{FF2B5EF4-FFF2-40B4-BE49-F238E27FC236}">
                <a16:creationId xmlns:a16="http://schemas.microsoft.com/office/drawing/2014/main" id="{4204E785-3FCB-4CBB-8B8F-3CB18DD09EF7}"/>
              </a:ext>
            </a:extLst>
          </p:cNvPr>
          <p:cNvSpPr/>
          <p:nvPr/>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561132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Default Slide">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20020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solidFill>
        <a:effectLst/>
      </p:bgPr>
    </p:bg>
    <p:spTree>
      <p:nvGrpSpPr>
        <p:cNvPr id="1" name=""/>
        <p:cNvGrpSpPr/>
        <p:nvPr/>
      </p:nvGrpSpPr>
      <p:grpSpPr>
        <a:xfrm>
          <a:off x="0" y="0"/>
          <a:ext cx="0" cy="0"/>
          <a:chOff x="0" y="0"/>
          <a:chExt cx="0" cy="0"/>
        </a:xfrm>
      </p:grpSpPr>
      <p:sp>
        <p:nvSpPr>
          <p:cNvPr id="3" name="Isosceles Triangle 2">
            <a:extLst>
              <a:ext uri="{FF2B5EF4-FFF2-40B4-BE49-F238E27FC236}">
                <a16:creationId xmlns:a16="http://schemas.microsoft.com/office/drawing/2014/main" id="{4204E785-3FCB-4CBB-8B8F-3CB18DD09EF7}"/>
              </a:ext>
            </a:extLst>
          </p:cNvPr>
          <p:cNvSpPr/>
          <p:nvPr/>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946677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lumMod val="95000"/>
          </a:schemeClr>
        </a:solidFill>
        <a:effectLst/>
      </p:bgPr>
    </p:bg>
    <p:spTree>
      <p:nvGrpSpPr>
        <p:cNvPr id="1" name=""/>
        <p:cNvGrpSpPr/>
        <p:nvPr/>
      </p:nvGrpSpPr>
      <p:grpSpPr>
        <a:xfrm>
          <a:off x="0" y="0"/>
          <a:ext cx="0" cy="0"/>
          <a:chOff x="0" y="0"/>
          <a:chExt cx="0" cy="0"/>
        </a:xfrm>
      </p:grpSpPr>
      <p:sp>
        <p:nvSpPr>
          <p:cNvPr id="3" name="Isosceles Triangle 2">
            <a:extLst>
              <a:ext uri="{FF2B5EF4-FFF2-40B4-BE49-F238E27FC236}">
                <a16:creationId xmlns:a16="http://schemas.microsoft.com/office/drawing/2014/main" id="{4204E785-3FCB-4CBB-8B8F-3CB18DD09EF7}"/>
              </a:ext>
            </a:extLst>
          </p:cNvPr>
          <p:cNvSpPr/>
          <p:nvPr/>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3" name="Picture Placeholder 2">
            <a:extLst>
              <a:ext uri="{FF2B5EF4-FFF2-40B4-BE49-F238E27FC236}">
                <a16:creationId xmlns:a16="http://schemas.microsoft.com/office/drawing/2014/main" id="{16B06460-4241-4299-B888-51DCF946908B}"/>
              </a:ext>
            </a:extLst>
          </p:cNvPr>
          <p:cNvSpPr>
            <a:spLocks noGrp="1"/>
          </p:cNvSpPr>
          <p:nvPr>
            <p:ph type="pic" sz="quarter" idx="10"/>
          </p:nvPr>
        </p:nvSpPr>
        <p:spPr>
          <a:xfrm>
            <a:off x="691802" y="1680856"/>
            <a:ext cx="1828800" cy="1828800"/>
          </a:xfrm>
          <a:prstGeom prst="flowChartConnector">
            <a:avLst/>
          </a:prstGeom>
          <a:ln w="50800">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p>
      <p:sp>
        <p:nvSpPr>
          <p:cNvPr id="26" name="Picture Placeholder 2">
            <a:extLst>
              <a:ext uri="{FF2B5EF4-FFF2-40B4-BE49-F238E27FC236}">
                <a16:creationId xmlns:a16="http://schemas.microsoft.com/office/drawing/2014/main" id="{C8DCD654-8E78-4CE8-B67B-45263D7758A8}"/>
              </a:ext>
            </a:extLst>
          </p:cNvPr>
          <p:cNvSpPr>
            <a:spLocks noGrp="1"/>
          </p:cNvSpPr>
          <p:nvPr>
            <p:ph type="pic" sz="quarter" idx="11"/>
          </p:nvPr>
        </p:nvSpPr>
        <p:spPr>
          <a:xfrm>
            <a:off x="3004792" y="1680856"/>
            <a:ext cx="1828800" cy="1828800"/>
          </a:xfrm>
          <a:prstGeom prst="flowChartConnector">
            <a:avLst/>
          </a:prstGeom>
          <a:ln w="50800">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p>
      <p:sp>
        <p:nvSpPr>
          <p:cNvPr id="27" name="Picture Placeholder 2">
            <a:extLst>
              <a:ext uri="{FF2B5EF4-FFF2-40B4-BE49-F238E27FC236}">
                <a16:creationId xmlns:a16="http://schemas.microsoft.com/office/drawing/2014/main" id="{6B1E066B-A1D7-4D0D-A855-5C1482A2540E}"/>
              </a:ext>
            </a:extLst>
          </p:cNvPr>
          <p:cNvSpPr>
            <a:spLocks noGrp="1"/>
          </p:cNvSpPr>
          <p:nvPr>
            <p:ph type="pic" sz="quarter" idx="12"/>
          </p:nvPr>
        </p:nvSpPr>
        <p:spPr>
          <a:xfrm>
            <a:off x="5317782" y="1680856"/>
            <a:ext cx="1828800" cy="1828800"/>
          </a:xfrm>
          <a:prstGeom prst="flowChartConnector">
            <a:avLst/>
          </a:prstGeom>
          <a:ln w="50800">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p>
      <p:sp>
        <p:nvSpPr>
          <p:cNvPr id="28" name="Picture Placeholder 2">
            <a:extLst>
              <a:ext uri="{FF2B5EF4-FFF2-40B4-BE49-F238E27FC236}">
                <a16:creationId xmlns:a16="http://schemas.microsoft.com/office/drawing/2014/main" id="{B6DFC306-30C7-43CE-9ACE-3204682A2C4E}"/>
              </a:ext>
            </a:extLst>
          </p:cNvPr>
          <p:cNvSpPr>
            <a:spLocks noGrp="1"/>
          </p:cNvSpPr>
          <p:nvPr>
            <p:ph type="pic" sz="quarter" idx="13"/>
          </p:nvPr>
        </p:nvSpPr>
        <p:spPr>
          <a:xfrm>
            <a:off x="7630772" y="1680856"/>
            <a:ext cx="1828800" cy="1828800"/>
          </a:xfrm>
          <a:prstGeom prst="flowChartConnector">
            <a:avLst/>
          </a:prstGeom>
          <a:ln w="50800">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p>
      <p:sp>
        <p:nvSpPr>
          <p:cNvPr id="7" name="Picture Placeholder 2">
            <a:extLst>
              <a:ext uri="{FF2B5EF4-FFF2-40B4-BE49-F238E27FC236}">
                <a16:creationId xmlns:a16="http://schemas.microsoft.com/office/drawing/2014/main" id="{297FC890-6B0A-427A-8C7E-03A82B8F0E9E}"/>
              </a:ext>
            </a:extLst>
          </p:cNvPr>
          <p:cNvSpPr>
            <a:spLocks noGrp="1"/>
          </p:cNvSpPr>
          <p:nvPr>
            <p:ph type="pic" sz="quarter" idx="14"/>
          </p:nvPr>
        </p:nvSpPr>
        <p:spPr>
          <a:xfrm>
            <a:off x="9943761" y="1680856"/>
            <a:ext cx="1828800" cy="1828800"/>
          </a:xfrm>
          <a:prstGeom prst="flowChartConnector">
            <a:avLst/>
          </a:prstGeom>
          <a:ln w="50800">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p>
    </p:spTree>
    <p:extLst>
      <p:ext uri="{BB962C8B-B14F-4D97-AF65-F5344CB8AC3E}">
        <p14:creationId xmlns:p14="http://schemas.microsoft.com/office/powerpoint/2010/main" val="327527804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Overview with image on left">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3761982"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a:t>Click icon to add picture</a:t>
            </a:r>
            <a:endParaRPr lang="en-US" dirty="0"/>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4528457" y="451369"/>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65374365"/>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Overview with image on left">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3761982"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a:t>Click icon to add picture</a:t>
            </a:r>
            <a:endParaRPr lang="en-US" dirty="0"/>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4772901" y="517848"/>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7" name="Isosceles Triangle 6">
            <a:extLst>
              <a:ext uri="{FF2B5EF4-FFF2-40B4-BE49-F238E27FC236}">
                <a16:creationId xmlns:a16="http://schemas.microsoft.com/office/drawing/2014/main" id="{6CDBEC0D-D611-4672-99FB-E92800E3FB30}"/>
              </a:ext>
            </a:extLst>
          </p:cNvPr>
          <p:cNvSpPr/>
          <p:nvPr/>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71535210"/>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2_Overview with image on left">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FE494C3-4260-4CDE-A1CD-457849F3299B}"/>
              </a:ext>
            </a:extLst>
          </p:cNvPr>
          <p:cNvSpPr/>
          <p:nvPr/>
        </p:nvSpPr>
        <p:spPr>
          <a:xfrm rot="10800000" flipV="1">
            <a:off x="0" y="0"/>
            <a:ext cx="5714998" cy="3739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434" eaLnBrk="1" fontAlgn="auto" hangingPunct="1">
              <a:spcBef>
                <a:spcPts val="0"/>
              </a:spcBef>
              <a:spcAft>
                <a:spcPts val="0"/>
              </a:spcAft>
              <a:defRPr/>
            </a:pPr>
            <a:endParaRPr lang="en-US" sz="2800" dirty="0"/>
          </a:p>
        </p:txBody>
      </p:sp>
      <p:sp>
        <p:nvSpPr>
          <p:cNvPr id="6" name="Picture Placeholder 13"/>
          <p:cNvSpPr>
            <a:spLocks noGrp="1"/>
          </p:cNvSpPr>
          <p:nvPr>
            <p:ph type="pic" sz="quarter" idx="60"/>
          </p:nvPr>
        </p:nvSpPr>
        <p:spPr>
          <a:xfrm>
            <a:off x="5714998" y="-1"/>
            <a:ext cx="6477002" cy="3739082"/>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a:t>Click icon to add picture</a:t>
            </a:r>
            <a:endParaRPr lang="en-US" dirty="0"/>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391560" y="315483"/>
            <a:ext cx="3963157" cy="185416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9" name="Picture Placeholder 13">
            <a:extLst>
              <a:ext uri="{FF2B5EF4-FFF2-40B4-BE49-F238E27FC236}">
                <a16:creationId xmlns:a16="http://schemas.microsoft.com/office/drawing/2014/main" id="{DD46F5E1-F599-46A9-8478-0591E55614AB}"/>
              </a:ext>
            </a:extLst>
          </p:cNvPr>
          <p:cNvSpPr>
            <a:spLocks noGrp="1"/>
          </p:cNvSpPr>
          <p:nvPr>
            <p:ph type="pic" sz="quarter" idx="62"/>
          </p:nvPr>
        </p:nvSpPr>
        <p:spPr>
          <a:xfrm>
            <a:off x="0" y="3739081"/>
            <a:ext cx="5714998" cy="3118919"/>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dirty="0"/>
              <a:t>Click icon to add picture</a:t>
            </a:r>
          </a:p>
        </p:txBody>
      </p:sp>
      <p:sp>
        <p:nvSpPr>
          <p:cNvPr id="10" name="Rectangle 9">
            <a:extLst>
              <a:ext uri="{FF2B5EF4-FFF2-40B4-BE49-F238E27FC236}">
                <a16:creationId xmlns:a16="http://schemas.microsoft.com/office/drawing/2014/main" id="{AEC619D6-9F10-4D27-AA8E-2817035FC6FE}"/>
              </a:ext>
            </a:extLst>
          </p:cNvPr>
          <p:cNvSpPr/>
          <p:nvPr/>
        </p:nvSpPr>
        <p:spPr>
          <a:xfrm rot="10800000" flipV="1">
            <a:off x="5720997" y="3739083"/>
            <a:ext cx="6471001" cy="31189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434" eaLnBrk="1" fontAlgn="auto" hangingPunct="1">
              <a:spcBef>
                <a:spcPts val="0"/>
              </a:spcBef>
              <a:spcAft>
                <a:spcPts val="0"/>
              </a:spcAft>
              <a:defRPr/>
            </a:pPr>
            <a:endParaRPr lang="en-US" sz="2800" dirty="0"/>
          </a:p>
        </p:txBody>
      </p:sp>
      <p:sp>
        <p:nvSpPr>
          <p:cNvPr id="12" name="Text Placeholder 4">
            <a:extLst>
              <a:ext uri="{FF2B5EF4-FFF2-40B4-BE49-F238E27FC236}">
                <a16:creationId xmlns:a16="http://schemas.microsoft.com/office/drawing/2014/main" id="{457981CA-E24D-44A2-9528-468D6F1C66DB}"/>
              </a:ext>
            </a:extLst>
          </p:cNvPr>
          <p:cNvSpPr>
            <a:spLocks noGrp="1"/>
          </p:cNvSpPr>
          <p:nvPr>
            <p:ph type="body" sz="quarter" idx="63"/>
          </p:nvPr>
        </p:nvSpPr>
        <p:spPr>
          <a:xfrm>
            <a:off x="6971920" y="4371460"/>
            <a:ext cx="3963157" cy="185416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56436612"/>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Slide - Option 1">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p:nvPicPr>
        <p:blipFill>
          <a:blip r:embed="rId2"/>
          <a:srcRect/>
          <a:stretch/>
        </p:blipFill>
        <p:spPr>
          <a:xfrm>
            <a:off x="-64" y="858"/>
            <a:ext cx="12188952" cy="6856285"/>
          </a:xfrm>
          <a:prstGeom prst="rect">
            <a:avLst/>
          </a:prstGeom>
        </p:spPr>
      </p:pic>
      <p:sp>
        <p:nvSpPr>
          <p:cNvPr id="4" name="Rectangle 3">
            <a:extLst>
              <a:ext uri="{FF2B5EF4-FFF2-40B4-BE49-F238E27FC236}">
                <a16:creationId xmlns:a16="http://schemas.microsoft.com/office/drawing/2014/main" id="{4A1E744C-6445-4CAA-A70A-4AFD2C28FF90}"/>
              </a:ext>
            </a:extLst>
          </p:cNvPr>
          <p:cNvSpPr/>
          <p:nvPr/>
        </p:nvSpPr>
        <p:spPr>
          <a:xfrm>
            <a:off x="-64"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sp>
        <p:nvSpPr>
          <p:cNvPr id="5" name="Rectangle 4">
            <a:extLst>
              <a:ext uri="{FF2B5EF4-FFF2-40B4-BE49-F238E27FC236}">
                <a16:creationId xmlns:a16="http://schemas.microsoft.com/office/drawing/2014/main" id="{F1072632-3AEA-40CD-8AE3-E0D92A221BD9}"/>
              </a:ext>
            </a:extLst>
          </p:cNvPr>
          <p:cNvSpPr/>
          <p:nvPr/>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6" name="Text Placeholder 14">
            <a:extLst>
              <a:ext uri="{FF2B5EF4-FFF2-40B4-BE49-F238E27FC236}">
                <a16:creationId xmlns:a16="http://schemas.microsoft.com/office/drawing/2014/main" id="{83700D3F-414D-492E-ADEE-DE8CC0B249E9}"/>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0" name="Text Placeholder 14">
            <a:extLst>
              <a:ext uri="{FF2B5EF4-FFF2-40B4-BE49-F238E27FC236}">
                <a16:creationId xmlns:a16="http://schemas.microsoft.com/office/drawing/2014/main" id="{A6CDB0E7-38EF-4CA7-A30D-ED27914F587A}"/>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2" name="Text Placeholder 14">
            <a:extLst>
              <a:ext uri="{FF2B5EF4-FFF2-40B4-BE49-F238E27FC236}">
                <a16:creationId xmlns:a16="http://schemas.microsoft.com/office/drawing/2014/main" id="{8F187370-3173-49CD-8B91-CC3D7A18C26E}"/>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Tree>
    <p:extLst>
      <p:ext uri="{BB962C8B-B14F-4D97-AF65-F5344CB8AC3E}">
        <p14:creationId xmlns:p14="http://schemas.microsoft.com/office/powerpoint/2010/main" val="371375635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Slide - Option 2">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p:nvPicPr>
        <p:blipFill>
          <a:blip r:embed="rId2"/>
          <a:srcRect/>
          <a:stretch/>
        </p:blipFill>
        <p:spPr>
          <a:xfrm>
            <a:off x="-64" y="858"/>
            <a:ext cx="12188951" cy="6856285"/>
          </a:xfrm>
          <a:prstGeom prst="rect">
            <a:avLst/>
          </a:prstGeom>
        </p:spPr>
      </p:pic>
      <p:sp>
        <p:nvSpPr>
          <p:cNvPr id="4" name="Rectangle 3">
            <a:extLst>
              <a:ext uri="{FF2B5EF4-FFF2-40B4-BE49-F238E27FC236}">
                <a16:creationId xmlns:a16="http://schemas.microsoft.com/office/drawing/2014/main" id="{4A1E744C-6445-4CAA-A70A-4AFD2C28FF90}"/>
              </a:ext>
            </a:extLst>
          </p:cNvPr>
          <p:cNvSpPr/>
          <p:nvPr/>
        </p:nvSpPr>
        <p:spPr>
          <a:xfrm>
            <a:off x="-64"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a:solidFill>
            <a:srgbClr val="1E4A66"/>
          </a:solidFill>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2</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2" name="Rectangle 11">
            <a:extLst>
              <a:ext uri="{FF2B5EF4-FFF2-40B4-BE49-F238E27FC236}">
                <a16:creationId xmlns:a16="http://schemas.microsoft.com/office/drawing/2014/main" id="{79D81A2E-DC11-4B80-8147-EFA5A7F82B0E}"/>
              </a:ext>
            </a:extLst>
          </p:cNvPr>
          <p:cNvSpPr/>
          <p:nvPr/>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14">
            <a:extLst>
              <a:ext uri="{FF2B5EF4-FFF2-40B4-BE49-F238E27FC236}">
                <a16:creationId xmlns:a16="http://schemas.microsoft.com/office/drawing/2014/main" id="{84820F92-8AC4-4D4F-BBB8-DBC47EF1B29C}"/>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4" name="Text Placeholder 14">
            <a:extLst>
              <a:ext uri="{FF2B5EF4-FFF2-40B4-BE49-F238E27FC236}">
                <a16:creationId xmlns:a16="http://schemas.microsoft.com/office/drawing/2014/main" id="{6F2F260F-4F23-41A2-BE36-BDC07EC0872C}"/>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6" name="Text Placeholder 14">
            <a:extLst>
              <a:ext uri="{FF2B5EF4-FFF2-40B4-BE49-F238E27FC236}">
                <a16:creationId xmlns:a16="http://schemas.microsoft.com/office/drawing/2014/main" id="{CDF33D77-D883-4C37-AE32-998A2CF2236D}"/>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Tree>
    <p:extLst>
      <p:ext uri="{BB962C8B-B14F-4D97-AF65-F5344CB8AC3E}">
        <p14:creationId xmlns:p14="http://schemas.microsoft.com/office/powerpoint/2010/main" val="41787631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Subtitle with on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6" name="Text Placeholder 10">
            <a:extLst>
              <a:ext uri="{FF2B5EF4-FFF2-40B4-BE49-F238E27FC236}">
                <a16:creationId xmlns:a16="http://schemas.microsoft.com/office/drawing/2014/main" id="{0DDEB31F-9812-4AEF-9BC4-F114E4F44AEA}"/>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C3B3A4EB-F305-4422-8C88-870CCE545DA5}"/>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9" name="TextBox 7">
            <a:extLst>
              <a:ext uri="{FF2B5EF4-FFF2-40B4-BE49-F238E27FC236}">
                <a16:creationId xmlns:a16="http://schemas.microsoft.com/office/drawing/2014/main" id="{BD334408-F23F-41A5-A163-45832F857BB4}"/>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5311113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Slide - Option 3">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p:nvSpPr>
        <p:spPr>
          <a:xfrm>
            <a:off x="-64"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3</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2" name="Rectangle 11">
            <a:extLst>
              <a:ext uri="{FF2B5EF4-FFF2-40B4-BE49-F238E27FC236}">
                <a16:creationId xmlns:a16="http://schemas.microsoft.com/office/drawing/2014/main" id="{5F51A2D2-391F-4C64-96C7-1432B78E2BE1}"/>
              </a:ext>
            </a:extLst>
          </p:cNvPr>
          <p:cNvSpPr/>
          <p:nvPr/>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14">
            <a:extLst>
              <a:ext uri="{FF2B5EF4-FFF2-40B4-BE49-F238E27FC236}">
                <a16:creationId xmlns:a16="http://schemas.microsoft.com/office/drawing/2014/main" id="{CDB97993-C49C-4689-8BA5-4B346B26BF56}"/>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4" name="Text Placeholder 14">
            <a:extLst>
              <a:ext uri="{FF2B5EF4-FFF2-40B4-BE49-F238E27FC236}">
                <a16:creationId xmlns:a16="http://schemas.microsoft.com/office/drawing/2014/main" id="{3C090AA8-0FC7-44EA-BFA0-18D7995E5A61}"/>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6" name="Text Placeholder 14">
            <a:extLst>
              <a:ext uri="{FF2B5EF4-FFF2-40B4-BE49-F238E27FC236}">
                <a16:creationId xmlns:a16="http://schemas.microsoft.com/office/drawing/2014/main" id="{FE7BC005-A963-4C8D-9B54-EDA34781D86A}"/>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Tree>
    <p:extLst>
      <p:ext uri="{BB962C8B-B14F-4D97-AF65-F5344CB8AC3E}">
        <p14:creationId xmlns:p14="http://schemas.microsoft.com/office/powerpoint/2010/main" val="399772112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ection Divider - Option 1">
    <p:spTree>
      <p:nvGrpSpPr>
        <p:cNvPr id="1" name=""/>
        <p:cNvGrpSpPr/>
        <p:nvPr/>
      </p:nvGrpSpPr>
      <p:grpSpPr>
        <a:xfrm>
          <a:off x="0" y="0"/>
          <a:ext cx="0" cy="0"/>
          <a:chOff x="0" y="0"/>
          <a:chExt cx="0" cy="0"/>
        </a:xfrm>
      </p:grpSpPr>
      <p:pic>
        <p:nvPicPr>
          <p:cNvPr id="11" name="Picture Placeholder 14">
            <a:extLst>
              <a:ext uri="{FF2B5EF4-FFF2-40B4-BE49-F238E27FC236}">
                <a16:creationId xmlns:a16="http://schemas.microsoft.com/office/drawing/2014/main" id="{DBA92C97-7A20-420C-B2A1-1CA5B2E695FB}"/>
              </a:ext>
            </a:extLst>
          </p:cNvPr>
          <p:cNvPicPr>
            <a:picLocks noChangeAspect="1"/>
          </p:cNvPicPr>
          <p:nvPr/>
        </p:nvPicPr>
        <p:blipFill>
          <a:blip r:embed="rId2"/>
          <a:srcRect/>
          <a:stretch/>
        </p:blipFill>
        <p:spPr>
          <a:xfrm>
            <a:off x="-64" y="858"/>
            <a:ext cx="12188952" cy="6856285"/>
          </a:xfrm>
          <a:prstGeom prst="rect">
            <a:avLst/>
          </a:prstGeom>
        </p:spPr>
      </p:pic>
      <p:sp>
        <p:nvSpPr>
          <p:cNvPr id="3" name="Rectangle 2">
            <a:extLst>
              <a:ext uri="{FF2B5EF4-FFF2-40B4-BE49-F238E27FC236}">
                <a16:creationId xmlns:a16="http://schemas.microsoft.com/office/drawing/2014/main" id="{4CE7174C-55E2-4B14-A4CD-8A1B096F0D3F}"/>
              </a:ext>
            </a:extLst>
          </p:cNvPr>
          <p:cNvSpPr/>
          <p:nvPr/>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97F62357-DF90-4683-9EE8-10073F211B4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3" name="Text Placeholder 14">
            <a:extLst>
              <a:ext uri="{FF2B5EF4-FFF2-40B4-BE49-F238E27FC236}">
                <a16:creationId xmlns:a16="http://schemas.microsoft.com/office/drawing/2014/main" id="{36120B6F-9669-4B87-91FC-7B62F14E5FB6}"/>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9" name="Rectangle 8">
            <a:extLst>
              <a:ext uri="{FF2B5EF4-FFF2-40B4-BE49-F238E27FC236}">
                <a16:creationId xmlns:a16="http://schemas.microsoft.com/office/drawing/2014/main" id="{296B7E3C-1E79-4414-AC87-D58C64CEAC4A}"/>
              </a:ext>
            </a:extLst>
          </p:cNvPr>
          <p:cNvSpPr/>
          <p:nvPr/>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562451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Divider - Option 2">
    <p:spTree>
      <p:nvGrpSpPr>
        <p:cNvPr id="1" name=""/>
        <p:cNvGrpSpPr/>
        <p:nvPr/>
      </p:nvGrpSpPr>
      <p:grpSpPr>
        <a:xfrm>
          <a:off x="0" y="0"/>
          <a:ext cx="0" cy="0"/>
          <a:chOff x="0" y="0"/>
          <a:chExt cx="0" cy="0"/>
        </a:xfrm>
      </p:grpSpPr>
      <p:pic>
        <p:nvPicPr>
          <p:cNvPr id="10" name="Picture Placeholder 14">
            <a:extLst>
              <a:ext uri="{FF2B5EF4-FFF2-40B4-BE49-F238E27FC236}">
                <a16:creationId xmlns:a16="http://schemas.microsoft.com/office/drawing/2014/main" id="{E846CDA9-C38D-48E5-A97E-82EB983FF9C9}"/>
              </a:ext>
            </a:extLst>
          </p:cNvPr>
          <p:cNvPicPr>
            <a:picLocks noChangeAspect="1"/>
          </p:cNvPicPr>
          <p:nvPr/>
        </p:nvPicPr>
        <p:blipFill>
          <a:blip r:embed="rId2"/>
          <a:srcRect/>
          <a:stretch/>
        </p:blipFill>
        <p:spPr>
          <a:xfrm>
            <a:off x="-64" y="858"/>
            <a:ext cx="12188951" cy="6856285"/>
          </a:xfrm>
          <a:prstGeom prst="rect">
            <a:avLst/>
          </a:prstGeom>
        </p:spPr>
      </p:pic>
      <p:sp>
        <p:nvSpPr>
          <p:cNvPr id="3" name="Rectangle 2">
            <a:extLst>
              <a:ext uri="{FF2B5EF4-FFF2-40B4-BE49-F238E27FC236}">
                <a16:creationId xmlns:a16="http://schemas.microsoft.com/office/drawing/2014/main" id="{4CE7174C-55E2-4B14-A4CD-8A1B096F0D3F}"/>
              </a:ext>
            </a:extLst>
          </p:cNvPr>
          <p:cNvSpPr/>
          <p:nvPr/>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2</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9" name="Rectangle 8">
            <a:extLst>
              <a:ext uri="{FF2B5EF4-FFF2-40B4-BE49-F238E27FC236}">
                <a16:creationId xmlns:a16="http://schemas.microsoft.com/office/drawing/2014/main" id="{70C531CC-6D38-441F-8D0E-FB71B3831ADF}"/>
              </a:ext>
            </a:extLst>
          </p:cNvPr>
          <p:cNvSpPr/>
          <p:nvPr/>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8128571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ection Divider - Option 3">
    <p:spTree>
      <p:nvGrpSpPr>
        <p:cNvPr id="1" name=""/>
        <p:cNvGrpSpPr/>
        <p:nvPr/>
      </p:nvGrpSpPr>
      <p:grpSpPr>
        <a:xfrm>
          <a:off x="0" y="0"/>
          <a:ext cx="0" cy="0"/>
          <a:chOff x="0" y="0"/>
          <a:chExt cx="0" cy="0"/>
        </a:xfrm>
      </p:grpSpPr>
      <p:pic>
        <p:nvPicPr>
          <p:cNvPr id="9" name="Picture Placeholder 14">
            <a:extLst>
              <a:ext uri="{FF2B5EF4-FFF2-40B4-BE49-F238E27FC236}">
                <a16:creationId xmlns:a16="http://schemas.microsoft.com/office/drawing/2014/main" id="{C8C269CE-FE74-4975-B378-4A4616FBF946}"/>
              </a:ext>
            </a:extLst>
          </p:cNvPr>
          <p:cNvPicPr>
            <a:picLocks noChangeAspect="1"/>
          </p:cNvPicPr>
          <p:nvPr/>
        </p:nvPicPr>
        <p:blipFill>
          <a:blip r:embed="rId2"/>
          <a:srcRect/>
          <a:stretch/>
        </p:blipFill>
        <p:spPr>
          <a:xfrm>
            <a:off x="-64" y="858"/>
            <a:ext cx="12188951"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A2ED847A-9B40-4765-9515-42CE09D49A28}"/>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3</a:t>
            </a:r>
          </a:p>
        </p:txBody>
      </p:sp>
      <p:sp>
        <p:nvSpPr>
          <p:cNvPr id="13" name="Text Placeholder 14">
            <a:extLst>
              <a:ext uri="{FF2B5EF4-FFF2-40B4-BE49-F238E27FC236}">
                <a16:creationId xmlns:a16="http://schemas.microsoft.com/office/drawing/2014/main" id="{9F360DD3-3DE1-44C6-9A01-7AB17D37C427}"/>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0" name="Rectangle 9">
            <a:extLst>
              <a:ext uri="{FF2B5EF4-FFF2-40B4-BE49-F238E27FC236}">
                <a16:creationId xmlns:a16="http://schemas.microsoft.com/office/drawing/2014/main" id="{72F190F3-2598-4B0E-B7D1-6213651F98BD}"/>
              </a:ext>
            </a:extLst>
          </p:cNvPr>
          <p:cNvSpPr/>
          <p:nvPr/>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2487602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_Title/Subtitle Only">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67254382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2_Title/Subtitle with one column">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130691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Subtitle with two columns">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7965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5EE70E34-1047-42DB-AE04-3FB5C5C73170}"/>
              </a:ext>
            </a:extLst>
          </p:cNvPr>
          <p:cNvCxnSpPr/>
          <p:nvPr/>
        </p:nvCxnSpPr>
        <p:spPr>
          <a:xfrm>
            <a:off x="502298"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content</a:t>
            </a:r>
          </a:p>
        </p:txBody>
      </p:sp>
      <p:sp>
        <p:nvSpPr>
          <p:cNvPr id="12" name="TextBox 11">
            <a:extLst>
              <a:ext uri="{FF2B5EF4-FFF2-40B4-BE49-F238E27FC236}">
                <a16:creationId xmlns:a16="http://schemas.microsoft.com/office/drawing/2014/main" id="{A3765DE3-4867-424A-B553-0EE0D6B69DBB}"/>
              </a:ext>
            </a:extLst>
          </p:cNvPr>
          <p:cNvSpPr txBox="1"/>
          <p:nvPr/>
        </p:nvSpPr>
        <p:spPr>
          <a:xfrm>
            <a:off x="390331" y="2334982"/>
            <a:ext cx="5715000" cy="615553"/>
          </a:xfrm>
          <a:prstGeom prst="rect">
            <a:avLst/>
          </a:prstGeom>
          <a:noFill/>
        </p:spPr>
        <p:txBody>
          <a:bodyPr wrap="square" rtlCol="0" anchor="b">
            <a:spAutoFit/>
          </a:bodyPr>
          <a:lstStyle/>
          <a:p>
            <a:r>
              <a:rPr lang="en-US" sz="3400"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Q&amp;A DISCUSSION</a:t>
            </a:r>
          </a:p>
        </p:txBody>
      </p:sp>
      <p:pic>
        <p:nvPicPr>
          <p:cNvPr id="13" name="Picture Placeholder 5">
            <a:extLst>
              <a:ext uri="{FF2B5EF4-FFF2-40B4-BE49-F238E27FC236}">
                <a16:creationId xmlns:a16="http://schemas.microsoft.com/office/drawing/2014/main" id="{E1CE07EB-D7A1-4DCD-BC11-38AD5B76DB0F}"/>
              </a:ext>
            </a:extLst>
          </p:cNvPr>
          <p:cNvPicPr>
            <a:picLocks noChangeAspect="1"/>
          </p:cNvPicPr>
          <p:nvPr/>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Tree>
    <p:extLst>
      <p:ext uri="{BB962C8B-B14F-4D97-AF65-F5344CB8AC3E}">
        <p14:creationId xmlns:p14="http://schemas.microsoft.com/office/powerpoint/2010/main" val="227204989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p:nvPicPr>
        <p:blipFill>
          <a:blip r:embed="rId2"/>
          <a:src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p:nvSpPr>
        <p:spPr>
          <a:xfrm>
            <a:off x="-1" y="1"/>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a:spLocks/>
          </p:cNvSpPr>
          <p:nvPr/>
        </p:nvSpPr>
        <p:spPr bwMode="auto">
          <a:xfrm>
            <a:off x="1075884" y="1613180"/>
            <a:ext cx="10040249"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Bebas Neue" charset="0"/>
              </a:rPr>
              <a:t>CONNECT WITH US</a:t>
            </a:r>
            <a:endParaRPr lang="en-US" sz="6000" spc="1750" dirty="0">
              <a:solidFill>
                <a:schemeClr val="bg1"/>
              </a:solidFill>
              <a:latin typeface="Open Sans Light" charset="0"/>
              <a:ea typeface="Open Sans Light" charset="0"/>
              <a:cs typeface="Open Sans Light" charset="0"/>
              <a:sym typeface="Bebas Neue" charset="0"/>
            </a:endParaRPr>
          </a:p>
        </p:txBody>
      </p:sp>
      <p:sp>
        <p:nvSpPr>
          <p:cNvPr id="10" name="Rectangle 9">
            <a:extLst>
              <a:ext uri="{FF2B5EF4-FFF2-40B4-BE49-F238E27FC236}">
                <a16:creationId xmlns:a16="http://schemas.microsoft.com/office/drawing/2014/main" id="{64EB43D7-6E46-4F6B-A9DB-D495F1CDBCFC}"/>
              </a:ext>
            </a:extLst>
          </p:cNvPr>
          <p:cNvSpPr/>
          <p:nvPr/>
        </p:nvSpPr>
        <p:spPr>
          <a:xfrm>
            <a:off x="1573691" y="4140246"/>
            <a:ext cx="1042273"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p:nvSpPr>
        <p:spPr>
          <a:xfrm>
            <a:off x="381000" y="5794258"/>
            <a:ext cx="11430000" cy="693651"/>
          </a:xfrm>
          <a:prstGeom prst="rect">
            <a:avLst/>
          </a:prstGeom>
          <a:noFill/>
        </p:spPr>
        <p:txBody>
          <a:bodyPr wrap="square" rtlCol="0">
            <a:spAutoFit/>
          </a:bodyPr>
          <a:lstStyle/>
          <a:p>
            <a:pPr algn="ctr">
              <a:lnSpc>
                <a:spcPts val="1620"/>
              </a:lnSpc>
            </a:pPr>
            <a:r>
              <a:rPr lang="en-US" sz="110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rPr>
              <a:t>Baker Donelson is among the 80 largest law firms in the country, with more than 650 attorneys and public policy advisors representing more than 30 practice areas to serve a </a:t>
            </a:r>
            <a:br>
              <a:rPr lang="en-US" sz="110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rPr>
            </a:br>
            <a:r>
              <a:rPr lang="en-US" sz="110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rPr>
              <a:t>wide range of legal needs. Clients receive knowledgeable guidance from experienced, multi-disciplined industry and client service teams, all seamlessly connected across 21 offices in Alabama, Florida, Georgia, Louisiana, Maryland, Mississippi,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pic>
        <p:nvPicPr>
          <p:cNvPr id="16" name="Graphic 15">
            <a:extLst>
              <a:ext uri="{FF2B5EF4-FFF2-40B4-BE49-F238E27FC236}">
                <a16:creationId xmlns:a16="http://schemas.microsoft.com/office/drawing/2014/main" id="{16702A56-F8BD-4883-868A-BF99C0595C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65906" y="3510046"/>
            <a:ext cx="552450" cy="552450"/>
          </a:xfrm>
          <a:prstGeom prst="rect">
            <a:avLst/>
          </a:prstGeom>
        </p:spPr>
      </p:pic>
      <p:sp>
        <p:nvSpPr>
          <p:cNvPr id="19" name="Rectangle 18">
            <a:extLst>
              <a:ext uri="{FF2B5EF4-FFF2-40B4-BE49-F238E27FC236}">
                <a16:creationId xmlns:a16="http://schemas.microsoft.com/office/drawing/2014/main" id="{96FC3433-DCBB-4866-ABF7-8B8E191533CF}"/>
              </a:ext>
            </a:extLst>
          </p:cNvPr>
          <p:cNvSpPr/>
          <p:nvPr/>
        </p:nvSpPr>
        <p:spPr>
          <a:xfrm>
            <a:off x="9427631" y="4140246"/>
            <a:ext cx="1029000"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WITTER</a:t>
            </a:r>
          </a:p>
        </p:txBody>
      </p:sp>
      <p:sp>
        <p:nvSpPr>
          <p:cNvPr id="21" name="Rectangle 20">
            <a:extLst>
              <a:ext uri="{FF2B5EF4-FFF2-40B4-BE49-F238E27FC236}">
                <a16:creationId xmlns:a16="http://schemas.microsoft.com/office/drawing/2014/main" id="{43DE0751-F48A-4E59-91EF-79F744409C3B}"/>
              </a:ext>
            </a:extLst>
          </p:cNvPr>
          <p:cNvSpPr/>
          <p:nvPr/>
        </p:nvSpPr>
        <p:spPr>
          <a:xfrm>
            <a:off x="4158540" y="4140246"/>
            <a:ext cx="1267591"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p:nvSpPr>
        <p:spPr>
          <a:xfrm>
            <a:off x="6674353" y="4140246"/>
            <a:ext cx="1120820"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958536" y="3514829"/>
            <a:ext cx="552450" cy="552450"/>
          </a:xfrm>
          <a:prstGeom prst="rect">
            <a:avLst/>
          </a:prstGeom>
        </p:spPr>
      </p:pic>
    </p:spTree>
    <p:extLst>
      <p:ext uri="{BB962C8B-B14F-4D97-AF65-F5344CB8AC3E}">
        <p14:creationId xmlns:p14="http://schemas.microsoft.com/office/powerpoint/2010/main" val="8387380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Full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B192C966-489C-004B-B382-289BF459EB0F}"/>
              </a:ext>
            </a:extLst>
          </p:cNvPr>
          <p:cNvSpPr>
            <a:spLocks noGrp="1"/>
          </p:cNvSpPr>
          <p:nvPr>
            <p:ph type="pic" sz="quarter" idx="14"/>
          </p:nvPr>
        </p:nvSpPr>
        <p:spPr>
          <a:xfrm>
            <a:off x="-138358" y="-130628"/>
            <a:ext cx="12468716" cy="7119256"/>
          </a:xfrm>
          <a:prstGeom prst="rect">
            <a:avLst/>
          </a:prstGeom>
          <a:solidFill>
            <a:schemeClr val="bg1">
              <a:lumMod val="95000"/>
            </a:schemeClr>
          </a:solidFill>
        </p:spPr>
        <p:txBody>
          <a:bodyPr rtlCol="0">
            <a:normAutofit/>
          </a:bodyPr>
          <a:lstStyle>
            <a:lvl1pPr>
              <a:defRPr sz="1051"/>
            </a:lvl1pPr>
          </a:lstStyle>
          <a:p>
            <a:pPr lvl="0"/>
            <a:r>
              <a:rPr lang="en-US" noProof="0"/>
              <a:t>Click icon to add picture</a:t>
            </a:r>
            <a:endParaRPr lang="en-US" noProof="0" dirty="0"/>
          </a:p>
        </p:txBody>
      </p:sp>
    </p:spTree>
    <p:extLst>
      <p:ext uri="{BB962C8B-B14F-4D97-AF65-F5344CB8AC3E}">
        <p14:creationId xmlns:p14="http://schemas.microsoft.com/office/powerpoint/2010/main" val="33856948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Subtitle with one column - No hash mark">
    <p:spTree>
      <p:nvGrpSpPr>
        <p:cNvPr id="1" name=""/>
        <p:cNvGrpSpPr/>
        <p:nvPr/>
      </p:nvGrpSpPr>
      <p:grpSpPr>
        <a:xfrm>
          <a:off x="0" y="0"/>
          <a:ext cx="0" cy="0"/>
          <a:chOff x="0" y="0"/>
          <a:chExt cx="0" cy="0"/>
        </a:xfrm>
      </p:grpSpPr>
      <p:sp>
        <p:nvSpPr>
          <p:cNvPr id="5" name="Text Placeholder 10">
            <a:extLst>
              <a:ext uri="{FF2B5EF4-FFF2-40B4-BE49-F238E27FC236}">
                <a16:creationId xmlns:a16="http://schemas.microsoft.com/office/drawing/2014/main" id="{9E6E1CA2-79C1-44AA-9FC4-E6D5E7D66008}"/>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6" name="Text Placeholder 2">
            <a:extLst>
              <a:ext uri="{FF2B5EF4-FFF2-40B4-BE49-F238E27FC236}">
                <a16:creationId xmlns:a16="http://schemas.microsoft.com/office/drawing/2014/main" id="{106964BD-D71E-4A3F-B632-C9E03B50902F}"/>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7" name="Content Placeholder 7">
            <a:extLst>
              <a:ext uri="{FF2B5EF4-FFF2-40B4-BE49-F238E27FC236}">
                <a16:creationId xmlns:a16="http://schemas.microsoft.com/office/drawing/2014/main" id="{6909E8B4-0FDA-4BE0-A6B5-B9E776E54545}"/>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Box 7">
            <a:extLst>
              <a:ext uri="{FF2B5EF4-FFF2-40B4-BE49-F238E27FC236}">
                <a16:creationId xmlns:a16="http://schemas.microsoft.com/office/drawing/2014/main" id="{7B85B167-FB62-46A9-AA57-2DD08B356ED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5155302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5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F9635CD1-1769-434C-8855-5A3DC4A033B9}"/>
              </a:ext>
            </a:extLst>
          </p:cNvPr>
          <p:cNvSpPr>
            <a:spLocks noGrp="1"/>
          </p:cNvSpPr>
          <p:nvPr>
            <p:ph type="pic" sz="quarter" idx="15"/>
          </p:nvPr>
        </p:nvSpPr>
        <p:spPr>
          <a:xfrm>
            <a:off x="3674103" y="2620271"/>
            <a:ext cx="2374156" cy="2373533"/>
          </a:xfrm>
          <a:prstGeom prst="ellipse">
            <a:avLst/>
          </a:prstGeom>
          <a:solidFill>
            <a:schemeClr val="bg1">
              <a:lumMod val="95000"/>
            </a:schemeClr>
          </a:solidFill>
        </p:spPr>
        <p:txBody>
          <a:bodyPr rtlCol="0">
            <a:normAutofit/>
          </a:bodyPr>
          <a:lstStyle>
            <a:lvl1pPr>
              <a:defRPr sz="1051"/>
            </a:lvl1pPr>
          </a:lstStyle>
          <a:p>
            <a:pPr lvl="0"/>
            <a:r>
              <a:rPr lang="en-US" noProof="0"/>
              <a:t>Click icon to add picture</a:t>
            </a:r>
            <a:endParaRPr lang="en-US" noProof="0" dirty="0"/>
          </a:p>
        </p:txBody>
      </p:sp>
      <p:sp>
        <p:nvSpPr>
          <p:cNvPr id="6" name="Picture Placeholder 8">
            <a:extLst>
              <a:ext uri="{FF2B5EF4-FFF2-40B4-BE49-F238E27FC236}">
                <a16:creationId xmlns:a16="http://schemas.microsoft.com/office/drawing/2014/main" id="{9C983264-BD19-C84A-ACAA-62C3284CC083}"/>
              </a:ext>
            </a:extLst>
          </p:cNvPr>
          <p:cNvSpPr>
            <a:spLocks noGrp="1"/>
          </p:cNvSpPr>
          <p:nvPr>
            <p:ph type="pic" sz="quarter" idx="16"/>
          </p:nvPr>
        </p:nvSpPr>
        <p:spPr>
          <a:xfrm>
            <a:off x="6279608" y="2620271"/>
            <a:ext cx="2374156" cy="2373533"/>
          </a:xfrm>
          <a:prstGeom prst="ellipse">
            <a:avLst/>
          </a:prstGeom>
          <a:solidFill>
            <a:schemeClr val="bg1">
              <a:lumMod val="95000"/>
            </a:schemeClr>
          </a:solidFill>
        </p:spPr>
        <p:txBody>
          <a:bodyPr rtlCol="0">
            <a:normAutofit/>
          </a:bodyPr>
          <a:lstStyle>
            <a:lvl1pPr>
              <a:defRPr sz="1051"/>
            </a:lvl1pPr>
          </a:lstStyle>
          <a:p>
            <a:pPr lvl="0"/>
            <a:r>
              <a:rPr lang="en-US" noProof="0"/>
              <a:t>Click icon to add picture</a:t>
            </a:r>
            <a:endParaRPr lang="en-US" noProof="0" dirty="0"/>
          </a:p>
        </p:txBody>
      </p:sp>
    </p:spTree>
    <p:extLst>
      <p:ext uri="{BB962C8B-B14F-4D97-AF65-F5344CB8AC3E}">
        <p14:creationId xmlns:p14="http://schemas.microsoft.com/office/powerpoint/2010/main" val="386113455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Q&amp;A and next steps">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5EE70E34-1047-42DB-AE04-3FB5C5C73170}"/>
              </a:ext>
            </a:extLst>
          </p:cNvPr>
          <p:cNvCxnSpPr/>
          <p:nvPr userDrawn="1"/>
        </p:nvCxnSpPr>
        <p:spPr>
          <a:xfrm>
            <a:off x="504631"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2" name="TextBox 11">
            <a:extLst>
              <a:ext uri="{FF2B5EF4-FFF2-40B4-BE49-F238E27FC236}">
                <a16:creationId xmlns:a16="http://schemas.microsoft.com/office/drawing/2014/main" id="{A3765DE3-4867-424A-B553-0EE0D6B69DBB}"/>
              </a:ext>
            </a:extLst>
          </p:cNvPr>
          <p:cNvSpPr txBox="1"/>
          <p:nvPr userDrawn="1"/>
        </p:nvSpPr>
        <p:spPr>
          <a:xfrm>
            <a:off x="390331" y="2713365"/>
            <a:ext cx="5715000" cy="615553"/>
          </a:xfrm>
          <a:prstGeom prst="rect">
            <a:avLst/>
          </a:prstGeom>
          <a:noFill/>
        </p:spPr>
        <p:txBody>
          <a:bodyPr wrap="square" rtlCol="0" anchor="b">
            <a:spAutoFit/>
          </a:bodyPr>
          <a:lstStyle/>
          <a:p>
            <a:r>
              <a:rPr lang="en-US" sz="3400"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Q&amp;A DISCUSSION</a:t>
            </a:r>
          </a:p>
        </p:txBody>
      </p:sp>
      <p:pic>
        <p:nvPicPr>
          <p:cNvPr id="11" name="Picture Placeholder 5">
            <a:extLst>
              <a:ext uri="{FF2B5EF4-FFF2-40B4-BE49-F238E27FC236}">
                <a16:creationId xmlns:a16="http://schemas.microsoft.com/office/drawing/2014/main" id="{6D914C35-3456-4B73-A7EA-430A47168531}"/>
              </a:ext>
            </a:extLst>
          </p:cNvPr>
          <p:cNvPicPr>
            <a:picLocks noChangeAspect="1"/>
          </p:cNvPicPr>
          <p:nvPr userDrawn="1"/>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Tree>
    <p:extLst>
      <p:ext uri="{BB962C8B-B14F-4D97-AF65-F5344CB8AC3E}">
        <p14:creationId xmlns:p14="http://schemas.microsoft.com/office/powerpoint/2010/main" val="216708139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Title - Option 1">
    <p:spTree>
      <p:nvGrpSpPr>
        <p:cNvPr id="1" name=""/>
        <p:cNvGrpSpPr/>
        <p:nvPr/>
      </p:nvGrpSpPr>
      <p:grpSpPr>
        <a:xfrm>
          <a:off x="0" y="0"/>
          <a:ext cx="0" cy="0"/>
          <a:chOff x="0" y="0"/>
          <a:chExt cx="0" cy="0"/>
        </a:xfrm>
      </p:grpSpPr>
      <p:pic>
        <p:nvPicPr>
          <p:cNvPr id="2" name="Picture Placeholder 10">
            <a:extLst>
              <a:ext uri="{FF2B5EF4-FFF2-40B4-BE49-F238E27FC236}">
                <a16:creationId xmlns:a16="http://schemas.microsoft.com/office/drawing/2014/main" id="{3A198A3D-747C-4CC1-A72E-BF22917BBD6B}"/>
              </a:ext>
            </a:extLst>
          </p:cNvPr>
          <p:cNvPicPr>
            <a:picLocks noChangeAspect="1"/>
          </p:cNvPicPr>
          <p:nvPr userDrawn="1"/>
        </p:nvPicPr>
        <p:blipFill>
          <a:blip r:embed="rId2"/>
          <a:srcRect/>
          <a:stretch/>
        </p:blipFill>
        <p:spPr>
          <a:xfrm>
            <a:off x="-1588" y="0"/>
            <a:ext cx="12192000" cy="6858000"/>
          </a:xfrm>
          <a:prstGeom prst="rect">
            <a:avLst/>
          </a:prstGeom>
          <a:solidFill>
            <a:schemeClr val="accent5"/>
          </a:solidFill>
        </p:spPr>
      </p:pic>
      <p:sp>
        <p:nvSpPr>
          <p:cNvPr id="3" name="Rectangle 2">
            <a:extLst>
              <a:ext uri="{FF2B5EF4-FFF2-40B4-BE49-F238E27FC236}">
                <a16:creationId xmlns:a16="http://schemas.microsoft.com/office/drawing/2014/main" id="{65B3E7DE-049E-4D77-9239-F5A614A8DBB8}"/>
              </a:ext>
            </a:extLst>
          </p:cNvPr>
          <p:cNvSpPr/>
          <p:nvPr userDrawn="1"/>
        </p:nvSpPr>
        <p:spPr>
          <a:xfrm>
            <a:off x="-1588"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11" name="Straight Connector 10">
            <a:extLst>
              <a:ext uri="{FF2B5EF4-FFF2-40B4-BE49-F238E27FC236}">
                <a16:creationId xmlns:a16="http://schemas.microsoft.com/office/drawing/2014/main" id="{83A2B3FD-D8F5-4F48-AA03-9FFEE6B04BA8}"/>
              </a:ext>
            </a:extLst>
          </p:cNvPr>
          <p:cNvCxnSpPr/>
          <p:nvPr userDrawn="1"/>
        </p:nvCxnSpPr>
        <p:spPr>
          <a:xfrm>
            <a:off x="5753100" y="3768331"/>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0BBB6CCD-41F4-4AD5-B315-266CB5FE9395}"/>
              </a:ext>
            </a:extLst>
          </p:cNvPr>
          <p:cNvSpPr>
            <a:spLocks noGrp="1"/>
          </p:cNvSpPr>
          <p:nvPr>
            <p:ph type="body" sz="quarter" idx="10" hasCustomPrompt="1"/>
          </p:nvPr>
        </p:nvSpPr>
        <p:spPr>
          <a:xfrm>
            <a:off x="381000" y="1855028"/>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ENT NAME</a:t>
            </a:r>
          </a:p>
        </p:txBody>
      </p:sp>
      <p:sp>
        <p:nvSpPr>
          <p:cNvPr id="13" name="Text Placeholder 14">
            <a:extLst>
              <a:ext uri="{FF2B5EF4-FFF2-40B4-BE49-F238E27FC236}">
                <a16:creationId xmlns:a16="http://schemas.microsoft.com/office/drawing/2014/main" id="{4D508A3B-2C72-447F-841D-3333DBF107CF}"/>
              </a:ext>
            </a:extLst>
          </p:cNvPr>
          <p:cNvSpPr>
            <a:spLocks noGrp="1"/>
          </p:cNvSpPr>
          <p:nvPr>
            <p:ph type="body" sz="quarter" idx="11" hasCustomPrompt="1"/>
          </p:nvPr>
        </p:nvSpPr>
        <p:spPr>
          <a:xfrm>
            <a:off x="390525" y="3884608"/>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20" name="Text Placeholder 19">
            <a:extLst>
              <a:ext uri="{FF2B5EF4-FFF2-40B4-BE49-F238E27FC236}">
                <a16:creationId xmlns:a16="http://schemas.microsoft.com/office/drawing/2014/main" id="{B338097C-E0AF-423B-BC68-3C7E471866FD}"/>
              </a:ext>
            </a:extLst>
          </p:cNvPr>
          <p:cNvSpPr>
            <a:spLocks noGrp="1"/>
          </p:cNvSpPr>
          <p:nvPr>
            <p:ph type="body" sz="quarter" idx="12" hasCustomPrompt="1"/>
          </p:nvPr>
        </p:nvSpPr>
        <p:spPr>
          <a:xfrm>
            <a:off x="381000" y="2217738"/>
            <a:ext cx="11430000" cy="498475"/>
          </a:xfrm>
          <a:prstGeom prst="rect">
            <a:avLst/>
          </a:prstGeom>
        </p:spPr>
        <p:txBody>
          <a:bodyPr anchor="ct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PREPARED FOR</a:t>
            </a:r>
          </a:p>
        </p:txBody>
      </p:sp>
      <p:sp>
        <p:nvSpPr>
          <p:cNvPr id="14" name="Text Placeholder 5">
            <a:extLst>
              <a:ext uri="{FF2B5EF4-FFF2-40B4-BE49-F238E27FC236}">
                <a16:creationId xmlns:a16="http://schemas.microsoft.com/office/drawing/2014/main" id="{B8FCA317-9D91-47FD-8239-8FC40DABDA1E}"/>
              </a:ext>
            </a:extLst>
          </p:cNvPr>
          <p:cNvSpPr>
            <a:spLocks noGrp="1"/>
          </p:cNvSpPr>
          <p:nvPr>
            <p:ph type="body" sz="quarter" idx="13" hasCustomPrompt="1"/>
          </p:nvPr>
        </p:nvSpPr>
        <p:spPr>
          <a:xfrm>
            <a:off x="390331" y="4726738"/>
            <a:ext cx="3657600" cy="914400"/>
          </a:xfrm>
          <a:prstGeom prst="rect">
            <a:avLst/>
          </a:prstGeom>
        </p:spPr>
        <p:txBody>
          <a:bodyPr/>
          <a:lstStyle>
            <a:lvl1pPr marL="0" indent="0" algn="ctr">
              <a:buFontTx/>
              <a:buNone/>
              <a:defRPr lang="en-US" sz="1400" kern="1200" spc="300" baseline="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indent="0" algn="ctr" defTabSz="914400" rtl="0" eaLnBrk="1" latinLnBrk="0" hangingPunct="1">
              <a:lnSpc>
                <a:spcPct val="100000"/>
              </a:lnSpc>
              <a:spcBef>
                <a:spcPts val="300"/>
              </a:spcBef>
              <a:buFont typeface="Arial" panose="020B0604020202020204" pitchFamily="34" charset="0"/>
              <a:buNone/>
            </a:pPr>
            <a:r>
              <a:rPr lang="en-US" dirty="0"/>
              <a:t>ATTORNEY NAME</a:t>
            </a:r>
          </a:p>
          <a:p>
            <a:pPr marL="0" lvl="0" indent="0" algn="ctr" defTabSz="914400" rtl="0" eaLnBrk="1" latinLnBrk="0" hangingPunct="1">
              <a:lnSpc>
                <a:spcPct val="100000"/>
              </a:lnSpc>
              <a:spcBef>
                <a:spcPts val="300"/>
              </a:spcBef>
              <a:buFont typeface="Arial" panose="020B0604020202020204" pitchFamily="34" charset="0"/>
              <a:buNone/>
            </a:pPr>
            <a:r>
              <a:rPr lang="en-US" dirty="0"/>
              <a:t>OFFICE LOCATION</a:t>
            </a:r>
          </a:p>
        </p:txBody>
      </p:sp>
      <p:sp>
        <p:nvSpPr>
          <p:cNvPr id="15" name="Text Placeholder 6">
            <a:extLst>
              <a:ext uri="{FF2B5EF4-FFF2-40B4-BE49-F238E27FC236}">
                <a16:creationId xmlns:a16="http://schemas.microsoft.com/office/drawing/2014/main" id="{430C3CAA-6CFD-4E5C-8CF0-566E19000389}"/>
              </a:ext>
            </a:extLst>
          </p:cNvPr>
          <p:cNvSpPr>
            <a:spLocks noGrp="1"/>
          </p:cNvSpPr>
          <p:nvPr>
            <p:ph type="body" sz="quarter" idx="14" hasCustomPrompt="1"/>
          </p:nvPr>
        </p:nvSpPr>
        <p:spPr>
          <a:xfrm>
            <a:off x="4271962" y="4726738"/>
            <a:ext cx="3657600" cy="914400"/>
          </a:xfrm>
          <a:prstGeom prst="rect">
            <a:avLst/>
          </a:prstGeom>
        </p:spPr>
        <p:txBody>
          <a:bodyPr/>
          <a:lstStyle>
            <a:lvl1pPr marL="0" indent="0" algn="ctr">
              <a:lnSpc>
                <a:spcPct val="100000"/>
              </a:lnSpc>
              <a:spcBef>
                <a:spcPts val="300"/>
              </a:spcBef>
              <a:buFontTx/>
              <a:buNone/>
              <a:defRPr lang="en-US" sz="1400" kern="1200" spc="300" baseline="0" dirty="0" smtClean="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ATTORNEY NAME</a:t>
            </a:r>
          </a:p>
          <a:p>
            <a:r>
              <a:rPr lang="en-US" dirty="0"/>
              <a:t>OFFICE LOCATION</a:t>
            </a:r>
          </a:p>
        </p:txBody>
      </p:sp>
      <p:sp>
        <p:nvSpPr>
          <p:cNvPr id="16" name="Text Placeholder 7">
            <a:extLst>
              <a:ext uri="{FF2B5EF4-FFF2-40B4-BE49-F238E27FC236}">
                <a16:creationId xmlns:a16="http://schemas.microsoft.com/office/drawing/2014/main" id="{A341ED34-7B83-4531-9F7E-FC401A125A64}"/>
              </a:ext>
            </a:extLst>
          </p:cNvPr>
          <p:cNvSpPr>
            <a:spLocks noGrp="1"/>
          </p:cNvSpPr>
          <p:nvPr>
            <p:ph type="body" sz="quarter" idx="15" hasCustomPrompt="1"/>
          </p:nvPr>
        </p:nvSpPr>
        <p:spPr>
          <a:xfrm>
            <a:off x="8153593" y="4726738"/>
            <a:ext cx="3657600" cy="914400"/>
          </a:xfrm>
          <a:prstGeom prst="rect">
            <a:avLst/>
          </a:prstGeom>
        </p:spPr>
        <p:txBody>
          <a:bodyPr/>
          <a:lstStyle>
            <a:lvl1pPr marL="0" indent="0" algn="ctr" defTabSz="914400" rtl="0" eaLnBrk="1" latinLnBrk="0" hangingPunct="1">
              <a:lnSpc>
                <a:spcPct val="100000"/>
              </a:lnSpc>
              <a:spcBef>
                <a:spcPts val="300"/>
              </a:spcBef>
              <a:buFontTx/>
              <a:buNone/>
              <a:defRPr lang="en-US" sz="1400" kern="1200" spc="300" baseline="0" dirty="0" smtClean="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ATTORNEY NAME</a:t>
            </a:r>
          </a:p>
          <a:p>
            <a:r>
              <a:rPr lang="en-US" dirty="0"/>
              <a:t>OFFICE LOCATION</a:t>
            </a:r>
          </a:p>
        </p:txBody>
      </p:sp>
    </p:spTree>
    <p:extLst>
      <p:ext uri="{BB962C8B-B14F-4D97-AF65-F5344CB8AC3E}">
        <p14:creationId xmlns:p14="http://schemas.microsoft.com/office/powerpoint/2010/main" val="1060637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Subtitle Only - No hash mark">
    <p:spTree>
      <p:nvGrpSpPr>
        <p:cNvPr id="1" name=""/>
        <p:cNvGrpSpPr/>
        <p:nvPr/>
      </p:nvGrpSpPr>
      <p:grpSpPr>
        <a:xfrm>
          <a:off x="0" y="0"/>
          <a:ext cx="0" cy="0"/>
          <a:chOff x="0" y="0"/>
          <a:chExt cx="0" cy="0"/>
        </a:xfrm>
      </p:grpSpPr>
      <p:sp>
        <p:nvSpPr>
          <p:cNvPr id="4" name="TextBox 7">
            <a:extLst>
              <a:ext uri="{FF2B5EF4-FFF2-40B4-BE49-F238E27FC236}">
                <a16:creationId xmlns:a16="http://schemas.microsoft.com/office/drawing/2014/main" id="{0F35F26E-8F6C-442F-9C7F-C91EF05BB1E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10">
            <a:extLst>
              <a:ext uri="{FF2B5EF4-FFF2-40B4-BE49-F238E27FC236}">
                <a16:creationId xmlns:a16="http://schemas.microsoft.com/office/drawing/2014/main" id="{035EFF25-B11C-47B9-AFFD-130CF0A58D4E}"/>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6" name="Text Placeholder 2">
            <a:extLst>
              <a:ext uri="{FF2B5EF4-FFF2-40B4-BE49-F238E27FC236}">
                <a16:creationId xmlns:a16="http://schemas.microsoft.com/office/drawing/2014/main" id="{599682EB-F2C8-4D86-9A5E-BAD2880AA019}"/>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112532245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 Option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501898-8BEC-870B-0BAA-7CF02D9E8E9F}"/>
              </a:ext>
            </a:extLst>
          </p:cNvPr>
          <p:cNvPicPr>
            <a:picLocks noChangeAspect="1"/>
          </p:cNvPicPr>
          <p:nvPr userDrawn="1"/>
        </p:nvPicPr>
        <p:blipFill rotWithShape="1">
          <a:blip r:embed="rId2"/>
          <a:srcRect b="-355"/>
          <a:stretch/>
        </p:blipFill>
        <p:spPr>
          <a:xfrm>
            <a:off x="0" y="0"/>
            <a:ext cx="12192000" cy="6857142"/>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0" y="858"/>
            <a:ext cx="12188952"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6" name="Text Placeholder 14">
            <a:extLst>
              <a:ext uri="{FF2B5EF4-FFF2-40B4-BE49-F238E27FC236}">
                <a16:creationId xmlns:a16="http://schemas.microsoft.com/office/drawing/2014/main" id="{83700D3F-414D-492E-ADEE-DE8CC0B249E9}"/>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0" name="Text Placeholder 14">
            <a:extLst>
              <a:ext uri="{FF2B5EF4-FFF2-40B4-BE49-F238E27FC236}">
                <a16:creationId xmlns:a16="http://schemas.microsoft.com/office/drawing/2014/main" id="{A6CDB0E7-38EF-4CA7-A30D-ED27914F587A}"/>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2" name="Text Placeholder 14">
            <a:extLst>
              <a:ext uri="{FF2B5EF4-FFF2-40B4-BE49-F238E27FC236}">
                <a16:creationId xmlns:a16="http://schemas.microsoft.com/office/drawing/2014/main" id="{8F187370-3173-49CD-8B91-CC3D7A18C26E}"/>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4999BF73-F9F2-4E1D-830C-FDFB628A31F6}"/>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249E8B76-81E5-84EF-8A43-BFD01A769A0A}"/>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344812343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 Option 3">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3"/>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10">
            <a:extLst>
              <a:ext uri="{FF2B5EF4-FFF2-40B4-BE49-F238E27FC236}">
                <a16:creationId xmlns:a16="http://schemas.microsoft.com/office/drawing/2014/main" id="{E8DD6720-71D7-4276-BBBC-543C6B4CC2CA}"/>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9" name="Text Placeholder 14">
            <a:extLst>
              <a:ext uri="{FF2B5EF4-FFF2-40B4-BE49-F238E27FC236}">
                <a16:creationId xmlns:a16="http://schemas.microsoft.com/office/drawing/2014/main" id="{9B6AE3E6-579D-46D7-AABF-82F1B873164A}"/>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20" name="Text Placeholder 14">
            <a:extLst>
              <a:ext uri="{FF2B5EF4-FFF2-40B4-BE49-F238E27FC236}">
                <a16:creationId xmlns:a16="http://schemas.microsoft.com/office/drawing/2014/main" id="{CC117974-7830-4172-AE45-939B4F2CD31A}"/>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271D8B06-C612-4BE4-8195-1C43187F728D}"/>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2" name="Text Placeholder 14">
            <a:extLst>
              <a:ext uri="{FF2B5EF4-FFF2-40B4-BE49-F238E27FC236}">
                <a16:creationId xmlns:a16="http://schemas.microsoft.com/office/drawing/2014/main" id="{1B8A529D-6632-4031-BA53-5E1D3E21174C}"/>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AEB94F32-5F85-48E9-8CA6-DB23085CA5A4}"/>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102E53F7-0357-1B2F-284F-73A4EA3CBB24}"/>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243997061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 Option 2">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10">
            <a:extLst>
              <a:ext uri="{FF2B5EF4-FFF2-40B4-BE49-F238E27FC236}">
                <a16:creationId xmlns:a16="http://schemas.microsoft.com/office/drawing/2014/main" id="{69789A13-1DB9-496E-A5AE-ABF640D115CB}"/>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9" name="Text Placeholder 14">
            <a:extLst>
              <a:ext uri="{FF2B5EF4-FFF2-40B4-BE49-F238E27FC236}">
                <a16:creationId xmlns:a16="http://schemas.microsoft.com/office/drawing/2014/main" id="{C447F563-C273-4536-AFB3-6A039FDE0993}"/>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20" name="Text Placeholder 14">
            <a:extLst>
              <a:ext uri="{FF2B5EF4-FFF2-40B4-BE49-F238E27FC236}">
                <a16:creationId xmlns:a16="http://schemas.microsoft.com/office/drawing/2014/main" id="{ECDDEB00-42BC-4E33-B09B-323E603E5E62}"/>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605B1481-DC26-4D6A-A3E6-F8168BB3192B}"/>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2" name="Text Placeholder 14">
            <a:extLst>
              <a:ext uri="{FF2B5EF4-FFF2-40B4-BE49-F238E27FC236}">
                <a16:creationId xmlns:a16="http://schemas.microsoft.com/office/drawing/2014/main" id="{0DCCCAFB-C578-42A4-B995-64AA53B19FB0}"/>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9175A5B5-950A-42AD-8E15-8DCB6CD68BEB}"/>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03A662A0-1C20-74C5-F044-E6F5350D37D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145702266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Divider - Option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6B67A9-3FC4-A765-FCBC-8D3390C12B62}"/>
              </a:ext>
            </a:extLst>
          </p:cNvPr>
          <p:cNvPicPr>
            <a:picLocks noChangeAspect="1"/>
          </p:cNvPicPr>
          <p:nvPr userDrawn="1"/>
        </p:nvPicPr>
        <p:blipFill rotWithShape="1">
          <a:blip r:embed="rId2"/>
          <a:srcRect t="1808" r="610" b="11074"/>
          <a:stretch/>
        </p:blipFill>
        <p:spPr>
          <a:xfrm>
            <a:off x="-65" y="0"/>
            <a:ext cx="12188952" cy="6858000"/>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5"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1" name="Rectangle 10">
            <a:extLst>
              <a:ext uri="{FF2B5EF4-FFF2-40B4-BE49-F238E27FC236}">
                <a16:creationId xmlns:a16="http://schemas.microsoft.com/office/drawing/2014/main" id="{B92113EB-96F2-4A90-81F0-91C7823D5A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E9808143-C0B4-8796-A0B4-661F20BF0C5E}"/>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11695260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Divider - Option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531A623-BD28-89A3-56F0-AD3327970227}"/>
              </a:ext>
            </a:extLst>
          </p:cNvPr>
          <p:cNvPicPr>
            <a:picLocks noChangeAspect="1"/>
          </p:cNvPicPr>
          <p:nvPr userDrawn="1"/>
        </p:nvPicPr>
        <p:blipFill rotWithShape="1">
          <a:blip r:embed="rId2"/>
          <a:srcRect r="14946" b="23451"/>
          <a:stretch/>
        </p:blipFill>
        <p:spPr>
          <a:xfrm>
            <a:off x="-62" y="-1"/>
            <a:ext cx="12192062" cy="6858000"/>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2"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E2369E3-BA21-4969-9E24-C4043F5AC2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12173009-4FF5-4BB0-9D02-68EB3D7CCD3B}"/>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7A5D091E-D913-4193-9656-395D40DE3602}"/>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BE4AFA6-E5E9-7186-05A6-C8671BB23F48}"/>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238126715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4" name="Picture Placeholder 14">
            <a:extLst>
              <a:ext uri="{FF2B5EF4-FFF2-40B4-BE49-F238E27FC236}">
                <a16:creationId xmlns:a16="http://schemas.microsoft.com/office/drawing/2014/main" id="{E7F7F4AF-D920-9D13-4BD4-E8394620F96D}"/>
              </a:ext>
            </a:extLst>
          </p:cNvPr>
          <p:cNvPicPr>
            <a:picLocks noChangeAspect="1"/>
          </p:cNvPicPr>
          <p:nvPr userDrawn="1"/>
        </p:nvPicPr>
        <p:blipFill>
          <a:blip r:embed="rId2"/>
          <a:srcRect/>
          <a:stretch/>
        </p:blipFill>
        <p:spPr>
          <a:xfrm>
            <a:off x="-63" y="858"/>
            <a:ext cx="12188949"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88B8554C-FB7F-4460-8A84-226B1816E9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0D574784-9D07-4513-AE4D-ACAE3A828D5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29436BFB-18E9-43C6-9F7D-ECCC69D25E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A9E2ECA-E04F-7EE7-48BB-9BDE278818E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34522687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Subtitle with two column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9" name="Text Placeholder 10">
            <a:extLst>
              <a:ext uri="{FF2B5EF4-FFF2-40B4-BE49-F238E27FC236}">
                <a16:creationId xmlns:a16="http://schemas.microsoft.com/office/drawing/2014/main" id="{85BFC132-57B9-42E2-BA12-31465A62946D}"/>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0" name="Text Placeholder 2">
            <a:extLst>
              <a:ext uri="{FF2B5EF4-FFF2-40B4-BE49-F238E27FC236}">
                <a16:creationId xmlns:a16="http://schemas.microsoft.com/office/drawing/2014/main" id="{945CB1CF-317F-47A9-8053-F75230B126FB}"/>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1" name="TextBox 7">
            <a:extLst>
              <a:ext uri="{FF2B5EF4-FFF2-40B4-BE49-F238E27FC236}">
                <a16:creationId xmlns:a16="http://schemas.microsoft.com/office/drawing/2014/main" id="{6C21E214-53D6-4916-B77A-B291A2BBF354}"/>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9029027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Section Divider - Option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6902E53-CDA8-915A-860E-AAD921CC37D9}"/>
              </a:ext>
            </a:extLst>
          </p:cNvPr>
          <p:cNvPicPr>
            <a:picLocks noChangeAspect="1"/>
          </p:cNvPicPr>
          <p:nvPr userDrawn="1"/>
        </p:nvPicPr>
        <p:blipFill rotWithShape="1">
          <a:blip r:embed="rId2"/>
          <a:srcRect l="25" t="10747" r="-25" b="4874"/>
          <a:stretch/>
        </p:blipFill>
        <p:spPr>
          <a:xfrm>
            <a:off x="3048" y="1"/>
            <a:ext cx="12188952" cy="6858000"/>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3048"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88B8554C-FB7F-4460-8A84-226B1816E9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0D574784-9D07-4513-AE4D-ACAE3A828D5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29436BFB-18E9-43C6-9F7D-ECCC69D25E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A9E2ECA-E04F-7EE7-48BB-9BDE278818E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10404282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Section Divider - Opti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8B025F-6D4B-846A-0AF5-D38BCD02E09A}"/>
              </a:ext>
            </a:extLst>
          </p:cNvPr>
          <p:cNvPicPr>
            <a:picLocks noChangeAspect="1"/>
          </p:cNvPicPr>
          <p:nvPr userDrawn="1"/>
        </p:nvPicPr>
        <p:blipFill rotWithShape="1">
          <a:blip r:embed="rId2"/>
          <a:srcRect l="2" t="1" r="-27" b="15604"/>
          <a:stretch/>
        </p:blipFill>
        <p:spPr>
          <a:xfrm>
            <a:off x="1" y="1"/>
            <a:ext cx="12192000" cy="6857999"/>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1"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88B8554C-FB7F-4460-8A84-226B1816E9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0D574784-9D07-4513-AE4D-ACAE3A828D5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29436BFB-18E9-43C6-9F7D-ECCC69D25E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A9E2ECA-E04F-7EE7-48BB-9BDE278818E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12904057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Section Divider - Option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3677EF2-030B-E3C0-8A86-1A086A5C3426}"/>
              </a:ext>
            </a:extLst>
          </p:cNvPr>
          <p:cNvPicPr>
            <a:picLocks noChangeAspect="1"/>
          </p:cNvPicPr>
          <p:nvPr userDrawn="1"/>
        </p:nvPicPr>
        <p:blipFill>
          <a:blip r:embed="rId2"/>
          <a:stretch>
            <a:fillRect/>
          </a:stretch>
        </p:blipFill>
        <p:spPr>
          <a:xfrm>
            <a:off x="813" y="0"/>
            <a:ext cx="12191187" cy="6858000"/>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81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88B8554C-FB7F-4460-8A84-226B1816E9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0D574784-9D07-4513-AE4D-ACAE3A828D5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29436BFB-18E9-43C6-9F7D-ECCC69D25E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A9E2ECA-E04F-7EE7-48BB-9BDE278818E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236237938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3403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accent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B422343-799B-4C5D-AE9C-F027E8B977CC}"/>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 name="Picture 2">
            <a:extLst>
              <a:ext uri="{FF2B5EF4-FFF2-40B4-BE49-F238E27FC236}">
                <a16:creationId xmlns:a16="http://schemas.microsoft.com/office/drawing/2014/main" id="{DA947AD3-920D-4DBA-BF4A-62CC94DA84B4}"/>
              </a:ext>
            </a:extLst>
          </p:cNvPr>
          <p:cNvPicPr>
            <a:picLocks noChangeAspect="1"/>
          </p:cNvPicPr>
          <p:nvPr userDrawn="1"/>
        </p:nvPicPr>
        <p:blipFill>
          <a:blip r:embed="rId2"/>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190232220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Subtitle Only">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96785731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Subtitle Only - No hash mark">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070AD663-D889-4037-89BC-9DDFF15D1DAC}"/>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5" name="Text Placeholder 2">
            <a:extLst>
              <a:ext uri="{FF2B5EF4-FFF2-40B4-BE49-F238E27FC236}">
                <a16:creationId xmlns:a16="http://schemas.microsoft.com/office/drawing/2014/main" id="{0B9E9B49-B612-49B4-A5A1-36BC6852554D}"/>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75341564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Subtitle with on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6" name="Text Placeholder 10">
            <a:extLst>
              <a:ext uri="{FF2B5EF4-FFF2-40B4-BE49-F238E27FC236}">
                <a16:creationId xmlns:a16="http://schemas.microsoft.com/office/drawing/2014/main" id="{168E28E3-F228-45F5-A85F-3C2693FCE6F1}"/>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16D82D3F-E316-4696-945D-6C856C82AA76}"/>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03266154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Subtitle with one column - No hash mark">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5" name="Text Placeholder 10">
            <a:extLst>
              <a:ext uri="{FF2B5EF4-FFF2-40B4-BE49-F238E27FC236}">
                <a16:creationId xmlns:a16="http://schemas.microsoft.com/office/drawing/2014/main" id="{F1ABE98F-1210-435A-92FE-9CB606C2BECF}"/>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6" name="Text Placeholder 2">
            <a:extLst>
              <a:ext uri="{FF2B5EF4-FFF2-40B4-BE49-F238E27FC236}">
                <a16:creationId xmlns:a16="http://schemas.microsoft.com/office/drawing/2014/main" id="{ACAC7962-C146-4043-9B26-4D9F2AAB0360}"/>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308069959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Subtitle with two column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9" name="Text Placeholder 10">
            <a:extLst>
              <a:ext uri="{FF2B5EF4-FFF2-40B4-BE49-F238E27FC236}">
                <a16:creationId xmlns:a16="http://schemas.microsoft.com/office/drawing/2014/main" id="{C61A827C-DCF5-4569-8F2A-843EA412AD66}"/>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0" name="Text Placeholder 2">
            <a:extLst>
              <a:ext uri="{FF2B5EF4-FFF2-40B4-BE49-F238E27FC236}">
                <a16:creationId xmlns:a16="http://schemas.microsoft.com/office/drawing/2014/main" id="{C05A1A97-77CB-4051-B10E-A0B319848020}"/>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5692267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Subtitle with two columns - No hash mark">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C470888C-046E-444E-9E59-31BC29B30B43}"/>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9" name="Text Placeholder 2">
            <a:extLst>
              <a:ext uri="{FF2B5EF4-FFF2-40B4-BE49-F238E27FC236}">
                <a16:creationId xmlns:a16="http://schemas.microsoft.com/office/drawing/2014/main" id="{69378B1D-0275-4D38-B4ED-AA70E6BD665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0" name="Text Placeholder 2">
            <a:extLst>
              <a:ext uri="{FF2B5EF4-FFF2-40B4-BE49-F238E27FC236}">
                <a16:creationId xmlns:a16="http://schemas.microsoft.com/office/drawing/2014/main" id="{95903ABA-BB0D-46C1-A585-F9B3FBD8B0D8}"/>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2">
            <a:extLst>
              <a:ext uri="{FF2B5EF4-FFF2-40B4-BE49-F238E27FC236}">
                <a16:creationId xmlns:a16="http://schemas.microsoft.com/office/drawing/2014/main" id="{F984307E-FDAC-4ACF-AF2D-5C61ED6D22BB}"/>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7" name="TextBox 7">
            <a:extLst>
              <a:ext uri="{FF2B5EF4-FFF2-40B4-BE49-F238E27FC236}">
                <a16:creationId xmlns:a16="http://schemas.microsoft.com/office/drawing/2014/main" id="{C87EAEFD-8A78-4284-8BCF-C082292B20BC}"/>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419493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Subtitle with two columns - No hash mark">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6" name="Text Placeholder 10">
            <a:extLst>
              <a:ext uri="{FF2B5EF4-FFF2-40B4-BE49-F238E27FC236}">
                <a16:creationId xmlns:a16="http://schemas.microsoft.com/office/drawing/2014/main" id="{9D61790C-4245-4C63-A707-41AA9823D9C9}"/>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9" name="Text Placeholder 2">
            <a:extLst>
              <a:ext uri="{FF2B5EF4-FFF2-40B4-BE49-F238E27FC236}">
                <a16:creationId xmlns:a16="http://schemas.microsoft.com/office/drawing/2014/main" id="{3C469253-86D0-4685-BDC8-EC6942D57C45}"/>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97970577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Overview with image on righ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99762360"/>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Overview with image on lef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6096000" y="628650"/>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284625246"/>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Subtitle Left Arrow - One column">
    <p:bg>
      <p:bgPr>
        <a:solidFill>
          <a:schemeClr val="bg1"/>
        </a:solidFill>
        <a:effectLst/>
      </p:bgPr>
    </p:bg>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F5265321-5CF4-E890-BA3D-FC6F0423A7E2}"/>
              </a:ext>
            </a:extLst>
          </p:cNvPr>
          <p:cNvSpPr/>
          <p:nvPr userDrawn="1"/>
        </p:nvSpPr>
        <p:spPr>
          <a:xfrm>
            <a:off x="3118104" y="6327648"/>
            <a:ext cx="749808" cy="414338"/>
          </a:xfrm>
          <a:prstGeom prst="roundRect">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nvGrpSpPr>
          <p:cNvPr id="4" name="Group 3">
            <a:extLst>
              <a:ext uri="{FF2B5EF4-FFF2-40B4-BE49-F238E27FC236}">
                <a16:creationId xmlns:a16="http://schemas.microsoft.com/office/drawing/2014/main" id="{026148C1-F56C-4733-95D5-44651A2C9B69}"/>
              </a:ext>
            </a:extLst>
          </p:cNvPr>
          <p:cNvGrpSpPr/>
          <p:nvPr userDrawn="1"/>
        </p:nvGrpSpPr>
        <p:grpSpPr>
          <a:xfrm>
            <a:off x="1"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155895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30165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30165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4953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21710558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Subtitle Right Arrow - One column">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871C5A8-BF00-4218-8472-981FFC28BD65}"/>
              </a:ext>
            </a:extLst>
          </p:cNvPr>
          <p:cNvGrpSpPr/>
          <p:nvPr userDrawn="1"/>
        </p:nvGrpSpPr>
        <p:grpSpPr>
          <a:xfrm>
            <a:off x="7892272" y="0"/>
            <a:ext cx="4299728" cy="6858000"/>
            <a:chOff x="7892272" y="0"/>
            <a:chExt cx="4299728" cy="6858000"/>
          </a:xfrm>
        </p:grpSpPr>
        <p:sp>
          <p:nvSpPr>
            <p:cNvPr id="3" name="Rectangle 2">
              <a:extLst>
                <a:ext uri="{FF2B5EF4-FFF2-40B4-BE49-F238E27FC236}">
                  <a16:creationId xmlns:a16="http://schemas.microsoft.com/office/drawing/2014/main" id="{662A5C94-8B2E-4F87-A64D-A44FF3BA6F39}"/>
                </a:ext>
              </a:extLst>
            </p:cNvPr>
            <p:cNvSpPr/>
            <p:nvPr userDrawn="1"/>
          </p:nvSpPr>
          <p:spPr>
            <a:xfrm>
              <a:off x="8313576" y="6476214"/>
              <a:ext cx="868131" cy="216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26148C1-F56C-4733-95D5-44651A2C9B69}"/>
                </a:ext>
              </a:extLst>
            </p:cNvPr>
            <p:cNvGrpSpPr/>
            <p:nvPr userDrawn="1"/>
          </p:nvGrpSpPr>
          <p:grpSpPr>
            <a:xfrm flipH="1">
              <a:off x="7892272"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986790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861060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861060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381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63458682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our attorney team">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ADE59870-FA01-4917-A7F1-7ED22B21E64B}"/>
              </a:ext>
            </a:extLst>
          </p:cNvPr>
          <p:cNvSpPr>
            <a:spLocks noGrp="1"/>
          </p:cNvSpPr>
          <p:nvPr>
            <p:ph type="pic" sz="quarter" idx="68"/>
          </p:nvPr>
        </p:nvSpPr>
        <p:spPr>
          <a:xfrm>
            <a:off x="1076228"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1" name="Text Placeholder 27">
            <a:extLst>
              <a:ext uri="{FF2B5EF4-FFF2-40B4-BE49-F238E27FC236}">
                <a16:creationId xmlns:a16="http://schemas.microsoft.com/office/drawing/2014/main" id="{97A26C40-36F9-4050-A037-AAA9AF17AFAC}"/>
              </a:ext>
            </a:extLst>
          </p:cNvPr>
          <p:cNvSpPr>
            <a:spLocks noGrp="1"/>
          </p:cNvSpPr>
          <p:nvPr>
            <p:ph type="body" sz="quarter" idx="28" hasCustomPrompt="1"/>
          </p:nvPr>
        </p:nvSpPr>
        <p:spPr>
          <a:xfrm>
            <a:off x="390428"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2" name="Text Placeholder 27">
            <a:extLst>
              <a:ext uri="{FF2B5EF4-FFF2-40B4-BE49-F238E27FC236}">
                <a16:creationId xmlns:a16="http://schemas.microsoft.com/office/drawing/2014/main" id="{F426880D-0B8A-4915-B6F2-A2AC69254AF3}"/>
              </a:ext>
            </a:extLst>
          </p:cNvPr>
          <p:cNvSpPr>
            <a:spLocks noGrp="1"/>
          </p:cNvSpPr>
          <p:nvPr>
            <p:ph type="body" sz="quarter" idx="29" hasCustomPrompt="1"/>
          </p:nvPr>
        </p:nvSpPr>
        <p:spPr>
          <a:xfrm>
            <a:off x="3279321"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3" name="Text Placeholder 27">
            <a:extLst>
              <a:ext uri="{FF2B5EF4-FFF2-40B4-BE49-F238E27FC236}">
                <a16:creationId xmlns:a16="http://schemas.microsoft.com/office/drawing/2014/main" id="{9911E403-AFBC-4E75-A8D4-47C8627097FE}"/>
              </a:ext>
            </a:extLst>
          </p:cNvPr>
          <p:cNvSpPr>
            <a:spLocks noGrp="1"/>
          </p:cNvSpPr>
          <p:nvPr>
            <p:ph type="body" sz="quarter" idx="30" hasCustomPrompt="1"/>
          </p:nvPr>
        </p:nvSpPr>
        <p:spPr>
          <a:xfrm>
            <a:off x="6168117"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4" name="Text Placeholder 27">
            <a:extLst>
              <a:ext uri="{FF2B5EF4-FFF2-40B4-BE49-F238E27FC236}">
                <a16:creationId xmlns:a16="http://schemas.microsoft.com/office/drawing/2014/main" id="{5257D8A0-3473-499A-9B83-A493336CF7FB}"/>
              </a:ext>
            </a:extLst>
          </p:cNvPr>
          <p:cNvSpPr>
            <a:spLocks noGrp="1"/>
          </p:cNvSpPr>
          <p:nvPr>
            <p:ph type="body" sz="quarter" idx="31" hasCustomPrompt="1"/>
          </p:nvPr>
        </p:nvSpPr>
        <p:spPr>
          <a:xfrm>
            <a:off x="9056914"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5" name="Picture Placeholder 7">
            <a:extLst>
              <a:ext uri="{FF2B5EF4-FFF2-40B4-BE49-F238E27FC236}">
                <a16:creationId xmlns:a16="http://schemas.microsoft.com/office/drawing/2014/main" id="{A8935422-98DE-4953-81B9-EEAD81C741BB}"/>
              </a:ext>
            </a:extLst>
          </p:cNvPr>
          <p:cNvSpPr>
            <a:spLocks noGrp="1"/>
          </p:cNvSpPr>
          <p:nvPr>
            <p:ph type="pic" sz="quarter" idx="69"/>
          </p:nvPr>
        </p:nvSpPr>
        <p:spPr>
          <a:xfrm>
            <a:off x="3965057"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6" name="Picture Placeholder 7">
            <a:extLst>
              <a:ext uri="{FF2B5EF4-FFF2-40B4-BE49-F238E27FC236}">
                <a16:creationId xmlns:a16="http://schemas.microsoft.com/office/drawing/2014/main" id="{685D4BDA-3A30-439A-B3EA-1CFCC97F6580}"/>
              </a:ext>
            </a:extLst>
          </p:cNvPr>
          <p:cNvSpPr>
            <a:spLocks noGrp="1"/>
          </p:cNvSpPr>
          <p:nvPr>
            <p:ph type="pic" sz="quarter" idx="70"/>
          </p:nvPr>
        </p:nvSpPr>
        <p:spPr>
          <a:xfrm>
            <a:off x="6853886"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7" name="Picture Placeholder 7">
            <a:extLst>
              <a:ext uri="{FF2B5EF4-FFF2-40B4-BE49-F238E27FC236}">
                <a16:creationId xmlns:a16="http://schemas.microsoft.com/office/drawing/2014/main" id="{A00DF56A-B640-4D0B-8148-92BAAC6C07BC}"/>
              </a:ext>
            </a:extLst>
          </p:cNvPr>
          <p:cNvSpPr>
            <a:spLocks noGrp="1"/>
          </p:cNvSpPr>
          <p:nvPr>
            <p:ph type="pic" sz="quarter" idx="71"/>
          </p:nvPr>
        </p:nvSpPr>
        <p:spPr>
          <a:xfrm>
            <a:off x="9742714"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cxnSp>
        <p:nvCxnSpPr>
          <p:cNvPr id="19" name="Straight Connector 18">
            <a:extLst>
              <a:ext uri="{FF2B5EF4-FFF2-40B4-BE49-F238E27FC236}">
                <a16:creationId xmlns:a16="http://schemas.microsoft.com/office/drawing/2014/main" id="{711843B2-8C8F-44A3-BBD8-2EBE1DA50BA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C5C58C17-AC52-42A1-8B85-013CDCB5E98A}"/>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0E3B9817-7AE3-4D75-B57D-75020D9B88CD}"/>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38010423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ix Rep Matters">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39C3241E-0248-4FD0-A411-E8D8CEB18769}"/>
              </a:ext>
            </a:extLst>
          </p:cNvPr>
          <p:cNvSpPr>
            <a:spLocks noGrp="1"/>
          </p:cNvSpPr>
          <p:nvPr>
            <p:ph type="pic" sz="quarter" idx="11" hasCustomPrompt="1"/>
          </p:nvPr>
        </p:nvSpPr>
        <p:spPr>
          <a:xfrm>
            <a:off x="390331" y="1617952"/>
            <a:ext cx="3657600" cy="1005840"/>
          </a:xfrm>
          <a:prstGeom prst="rect">
            <a:avLst/>
          </a:prstGeom>
          <a:solidFill>
            <a:schemeClr val="bg1">
              <a:lumMod val="95000"/>
            </a:schemeClr>
          </a:solidFill>
        </p:spPr>
        <p:txBody>
          <a:bodyPr anchor="ctr"/>
          <a:lstStyle>
            <a:lvl1pPr marL="0" indent="0" algn="ctr">
              <a:buNone/>
              <a:defRPr sz="2400">
                <a:solidFill>
                  <a:schemeClr val="bg1">
                    <a:lumMod val="75000"/>
                  </a:schemeClr>
                </a:solidFill>
              </a:defRPr>
            </a:lvl1pPr>
          </a:lstStyle>
          <a:p>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5" name="Picture Placeholder 37">
            <a:extLst>
              <a:ext uri="{FF2B5EF4-FFF2-40B4-BE49-F238E27FC236}">
                <a16:creationId xmlns:a16="http://schemas.microsoft.com/office/drawing/2014/main" id="{F94DD322-BCC5-4552-91D7-9824DCBC8750}"/>
              </a:ext>
            </a:extLst>
          </p:cNvPr>
          <p:cNvSpPr>
            <a:spLocks noGrp="1"/>
          </p:cNvSpPr>
          <p:nvPr>
            <p:ph type="pic" sz="quarter" idx="17" hasCustomPrompt="1"/>
          </p:nvPr>
        </p:nvSpPr>
        <p:spPr>
          <a:xfrm>
            <a:off x="42765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7" name="Picture Placeholder 37">
            <a:extLst>
              <a:ext uri="{FF2B5EF4-FFF2-40B4-BE49-F238E27FC236}">
                <a16:creationId xmlns:a16="http://schemas.microsoft.com/office/drawing/2014/main" id="{38849EE0-04FA-45BB-B7D7-DF5BC2E7A74C}"/>
              </a:ext>
            </a:extLst>
          </p:cNvPr>
          <p:cNvSpPr>
            <a:spLocks noGrp="1"/>
          </p:cNvSpPr>
          <p:nvPr>
            <p:ph type="pic" sz="quarter" idx="19" hasCustomPrompt="1"/>
          </p:nvPr>
        </p:nvSpPr>
        <p:spPr>
          <a:xfrm>
            <a:off x="81627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0" name="Text Placeholder 27">
            <a:extLst>
              <a:ext uri="{FF2B5EF4-FFF2-40B4-BE49-F238E27FC236}">
                <a16:creationId xmlns:a16="http://schemas.microsoft.com/office/drawing/2014/main" id="{CD467619-55C3-4742-80C4-BB51BE9D4554}"/>
              </a:ext>
            </a:extLst>
          </p:cNvPr>
          <p:cNvSpPr>
            <a:spLocks noGrp="1"/>
          </p:cNvSpPr>
          <p:nvPr>
            <p:ph type="body" sz="quarter" idx="20" hasCustomPrompt="1"/>
          </p:nvPr>
        </p:nvSpPr>
        <p:spPr>
          <a:xfrm>
            <a:off x="390525"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1" name="Text Placeholder 27">
            <a:extLst>
              <a:ext uri="{FF2B5EF4-FFF2-40B4-BE49-F238E27FC236}">
                <a16:creationId xmlns:a16="http://schemas.microsoft.com/office/drawing/2014/main" id="{9FFA7C56-5235-456F-A55D-D2423BCAD92A}"/>
              </a:ext>
            </a:extLst>
          </p:cNvPr>
          <p:cNvSpPr>
            <a:spLocks noGrp="1"/>
          </p:cNvSpPr>
          <p:nvPr>
            <p:ph type="body" sz="quarter" idx="21" hasCustomPrompt="1"/>
          </p:nvPr>
        </p:nvSpPr>
        <p:spPr>
          <a:xfrm>
            <a:off x="4276628"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3" name="Text Placeholder 27">
            <a:extLst>
              <a:ext uri="{FF2B5EF4-FFF2-40B4-BE49-F238E27FC236}">
                <a16:creationId xmlns:a16="http://schemas.microsoft.com/office/drawing/2014/main" id="{A3C8A936-56B8-4185-A261-8C1B6BBB4617}"/>
              </a:ext>
            </a:extLst>
          </p:cNvPr>
          <p:cNvSpPr>
            <a:spLocks noGrp="1"/>
          </p:cNvSpPr>
          <p:nvPr>
            <p:ph type="body" sz="quarter" idx="23" hasCustomPrompt="1"/>
          </p:nvPr>
        </p:nvSpPr>
        <p:spPr>
          <a:xfrm>
            <a:off x="8162731"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4" name="Picture Placeholder 37">
            <a:extLst>
              <a:ext uri="{FF2B5EF4-FFF2-40B4-BE49-F238E27FC236}">
                <a16:creationId xmlns:a16="http://schemas.microsoft.com/office/drawing/2014/main" id="{6D8138D3-69BB-4AD6-9F8C-44137E15D906}"/>
              </a:ext>
            </a:extLst>
          </p:cNvPr>
          <p:cNvSpPr>
            <a:spLocks noGrp="1"/>
          </p:cNvSpPr>
          <p:nvPr>
            <p:ph type="pic" sz="quarter" idx="24" hasCustomPrompt="1"/>
          </p:nvPr>
        </p:nvSpPr>
        <p:spPr>
          <a:xfrm>
            <a:off x="3903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5" name="Picture Placeholder 37">
            <a:extLst>
              <a:ext uri="{FF2B5EF4-FFF2-40B4-BE49-F238E27FC236}">
                <a16:creationId xmlns:a16="http://schemas.microsoft.com/office/drawing/2014/main" id="{C68F96D0-5879-48BE-A9CC-C8DEED25EA58}"/>
              </a:ext>
            </a:extLst>
          </p:cNvPr>
          <p:cNvSpPr>
            <a:spLocks noGrp="1"/>
          </p:cNvSpPr>
          <p:nvPr>
            <p:ph type="pic" sz="quarter" idx="25" hasCustomPrompt="1"/>
          </p:nvPr>
        </p:nvSpPr>
        <p:spPr>
          <a:xfrm>
            <a:off x="42765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7" name="Picture Placeholder 37">
            <a:extLst>
              <a:ext uri="{FF2B5EF4-FFF2-40B4-BE49-F238E27FC236}">
                <a16:creationId xmlns:a16="http://schemas.microsoft.com/office/drawing/2014/main" id="{F220ACE6-02F4-4AAF-8A08-7142312BF6D1}"/>
              </a:ext>
            </a:extLst>
          </p:cNvPr>
          <p:cNvSpPr>
            <a:spLocks noGrp="1"/>
          </p:cNvSpPr>
          <p:nvPr>
            <p:ph type="pic" sz="quarter" idx="27" hasCustomPrompt="1"/>
          </p:nvPr>
        </p:nvSpPr>
        <p:spPr>
          <a:xfrm>
            <a:off x="81627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8" name="Text Placeholder 27">
            <a:extLst>
              <a:ext uri="{FF2B5EF4-FFF2-40B4-BE49-F238E27FC236}">
                <a16:creationId xmlns:a16="http://schemas.microsoft.com/office/drawing/2014/main" id="{908E73A7-8AC1-47F5-9EEE-1E5FCD29801B}"/>
              </a:ext>
            </a:extLst>
          </p:cNvPr>
          <p:cNvSpPr>
            <a:spLocks noGrp="1"/>
          </p:cNvSpPr>
          <p:nvPr>
            <p:ph type="body" sz="quarter" idx="28" hasCustomPrompt="1"/>
          </p:nvPr>
        </p:nvSpPr>
        <p:spPr>
          <a:xfrm>
            <a:off x="390525"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4" name="Text Placeholder 27">
            <a:extLst>
              <a:ext uri="{FF2B5EF4-FFF2-40B4-BE49-F238E27FC236}">
                <a16:creationId xmlns:a16="http://schemas.microsoft.com/office/drawing/2014/main" id="{FCD347F6-6747-4557-A0A4-8A33407E5282}"/>
              </a:ext>
            </a:extLst>
          </p:cNvPr>
          <p:cNvSpPr>
            <a:spLocks noGrp="1"/>
          </p:cNvSpPr>
          <p:nvPr>
            <p:ph type="body" sz="quarter" idx="29" hasCustomPrompt="1"/>
          </p:nvPr>
        </p:nvSpPr>
        <p:spPr>
          <a:xfrm>
            <a:off x="4276628"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6" name="Text Placeholder 27">
            <a:extLst>
              <a:ext uri="{FF2B5EF4-FFF2-40B4-BE49-F238E27FC236}">
                <a16:creationId xmlns:a16="http://schemas.microsoft.com/office/drawing/2014/main" id="{DF242684-9C00-422E-863D-391CFCE36544}"/>
              </a:ext>
            </a:extLst>
          </p:cNvPr>
          <p:cNvSpPr>
            <a:spLocks noGrp="1"/>
          </p:cNvSpPr>
          <p:nvPr>
            <p:ph type="body" sz="quarter" idx="31" hasCustomPrompt="1"/>
          </p:nvPr>
        </p:nvSpPr>
        <p:spPr>
          <a:xfrm>
            <a:off x="8162731"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cxnSp>
        <p:nvCxnSpPr>
          <p:cNvPr id="39" name="Straight Connector 38">
            <a:extLst>
              <a:ext uri="{FF2B5EF4-FFF2-40B4-BE49-F238E27FC236}">
                <a16:creationId xmlns:a16="http://schemas.microsoft.com/office/drawing/2014/main" id="{9830C5ED-908B-4BB8-9F71-93DF39944B99}"/>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0">
            <a:extLst>
              <a:ext uri="{FF2B5EF4-FFF2-40B4-BE49-F238E27FC236}">
                <a16:creationId xmlns:a16="http://schemas.microsoft.com/office/drawing/2014/main" id="{B685C183-8448-4CCD-8144-7124F66433BD}"/>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9" name="Text Placeholder 2">
            <a:extLst>
              <a:ext uri="{FF2B5EF4-FFF2-40B4-BE49-F238E27FC236}">
                <a16:creationId xmlns:a16="http://schemas.microsoft.com/office/drawing/2014/main" id="{8253C8CC-72B5-4C16-B74E-4EF255828FB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15917659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items with image diamond">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62ECC6F-F329-4894-B30C-9DDF87D4C6B0}"/>
              </a:ext>
            </a:extLst>
          </p:cNvPr>
          <p:cNvSpPr>
            <a:spLocks noGrp="1"/>
          </p:cNvSpPr>
          <p:nvPr>
            <p:ph type="pic" sz="quarter" idx="10"/>
          </p:nvPr>
        </p:nvSpPr>
        <p:spPr>
          <a:xfrm>
            <a:off x="4995728" y="1654784"/>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dirty="0"/>
          </a:p>
        </p:txBody>
      </p:sp>
      <p:sp>
        <p:nvSpPr>
          <p:cNvPr id="18" name="Picture Placeholder 17">
            <a:extLst>
              <a:ext uri="{FF2B5EF4-FFF2-40B4-BE49-F238E27FC236}">
                <a16:creationId xmlns:a16="http://schemas.microsoft.com/office/drawing/2014/main" id="{8A961995-D4ED-4EA2-BDF8-2F805F6EDE8F}"/>
              </a:ext>
            </a:extLst>
          </p:cNvPr>
          <p:cNvSpPr>
            <a:spLocks noGrp="1"/>
          </p:cNvSpPr>
          <p:nvPr>
            <p:ph type="pic" sz="quarter" idx="11"/>
          </p:nvPr>
        </p:nvSpPr>
        <p:spPr>
          <a:xfrm>
            <a:off x="3845353"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19" name="Picture Placeholder 18">
            <a:extLst>
              <a:ext uri="{FF2B5EF4-FFF2-40B4-BE49-F238E27FC236}">
                <a16:creationId xmlns:a16="http://schemas.microsoft.com/office/drawing/2014/main" id="{6C31DF17-C531-4C0B-A8D1-30EC2E698BEB}"/>
              </a:ext>
            </a:extLst>
          </p:cNvPr>
          <p:cNvSpPr>
            <a:spLocks noGrp="1"/>
          </p:cNvSpPr>
          <p:nvPr>
            <p:ph type="pic" sz="quarter" idx="12"/>
          </p:nvPr>
        </p:nvSpPr>
        <p:spPr>
          <a:xfrm>
            <a:off x="6142655"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20" name="Picture Placeholder 19">
            <a:extLst>
              <a:ext uri="{FF2B5EF4-FFF2-40B4-BE49-F238E27FC236}">
                <a16:creationId xmlns:a16="http://schemas.microsoft.com/office/drawing/2014/main" id="{293F6089-7C17-41CF-98EF-CCF55D2C537C}"/>
              </a:ext>
            </a:extLst>
          </p:cNvPr>
          <p:cNvSpPr>
            <a:spLocks noGrp="1"/>
          </p:cNvSpPr>
          <p:nvPr>
            <p:ph type="pic" sz="quarter" idx="13"/>
          </p:nvPr>
        </p:nvSpPr>
        <p:spPr>
          <a:xfrm>
            <a:off x="4995728" y="3951512"/>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9" name="Text Placeholder 27">
            <a:extLst>
              <a:ext uri="{FF2B5EF4-FFF2-40B4-BE49-F238E27FC236}">
                <a16:creationId xmlns:a16="http://schemas.microsoft.com/office/drawing/2014/main" id="{6F31F507-3EE3-4E74-A3B3-829544666D5B}"/>
              </a:ext>
            </a:extLst>
          </p:cNvPr>
          <p:cNvSpPr>
            <a:spLocks noGrp="1"/>
          </p:cNvSpPr>
          <p:nvPr>
            <p:ph type="body" sz="quarter" idx="17" hasCustomPrompt="1"/>
          </p:nvPr>
        </p:nvSpPr>
        <p:spPr>
          <a:xfrm>
            <a:off x="390525" y="1786247"/>
            <a:ext cx="3200400" cy="1645920"/>
          </a:xfrm>
          <a:prstGeom prst="rect">
            <a:avLst/>
          </a:prstGeom>
        </p:spPr>
        <p:txBody>
          <a:bodyPr>
            <a:normAutofit/>
          </a:bodyPr>
          <a:lstStyle>
            <a:lvl1pPr marL="0" indent="0" algn="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0" name="Text Placeholder 27">
            <a:extLst>
              <a:ext uri="{FF2B5EF4-FFF2-40B4-BE49-F238E27FC236}">
                <a16:creationId xmlns:a16="http://schemas.microsoft.com/office/drawing/2014/main" id="{859FA3BB-CF44-4802-9948-D8B7CE113AED}"/>
              </a:ext>
            </a:extLst>
          </p:cNvPr>
          <p:cNvSpPr>
            <a:spLocks noGrp="1"/>
          </p:cNvSpPr>
          <p:nvPr>
            <p:ph type="body" sz="quarter" idx="18" hasCustomPrompt="1"/>
          </p:nvPr>
        </p:nvSpPr>
        <p:spPr>
          <a:xfrm>
            <a:off x="390525" y="3809450"/>
            <a:ext cx="3200400" cy="1645920"/>
          </a:xfrm>
          <a:prstGeom prst="rect">
            <a:avLst/>
          </a:prstGeom>
        </p:spPr>
        <p:txBody>
          <a:bodyPr>
            <a:normAutofit/>
          </a:bodyPr>
          <a:lstStyle>
            <a:lvl1pPr marL="0" indent="0" algn="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1" name="Text Placeholder 27">
            <a:extLst>
              <a:ext uri="{FF2B5EF4-FFF2-40B4-BE49-F238E27FC236}">
                <a16:creationId xmlns:a16="http://schemas.microsoft.com/office/drawing/2014/main" id="{E2A970B0-BEBC-40E3-96D3-D0403411ADAD}"/>
              </a:ext>
            </a:extLst>
          </p:cNvPr>
          <p:cNvSpPr>
            <a:spLocks noGrp="1"/>
          </p:cNvSpPr>
          <p:nvPr>
            <p:ph type="body" sz="quarter" idx="19" hasCustomPrompt="1"/>
          </p:nvPr>
        </p:nvSpPr>
        <p:spPr>
          <a:xfrm>
            <a:off x="8601075" y="1786247"/>
            <a:ext cx="3200400" cy="164592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2" name="Text Placeholder 27">
            <a:extLst>
              <a:ext uri="{FF2B5EF4-FFF2-40B4-BE49-F238E27FC236}">
                <a16:creationId xmlns:a16="http://schemas.microsoft.com/office/drawing/2014/main" id="{EF807731-E598-4EFB-BF1E-35A41D6EC435}"/>
              </a:ext>
            </a:extLst>
          </p:cNvPr>
          <p:cNvSpPr>
            <a:spLocks noGrp="1"/>
          </p:cNvSpPr>
          <p:nvPr>
            <p:ph type="body" sz="quarter" idx="20" hasCustomPrompt="1"/>
          </p:nvPr>
        </p:nvSpPr>
        <p:spPr>
          <a:xfrm>
            <a:off x="8601075" y="3809450"/>
            <a:ext cx="3200400" cy="164592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cxnSp>
        <p:nvCxnSpPr>
          <p:cNvPr id="23" name="Straight Connector 22">
            <a:extLst>
              <a:ext uri="{FF2B5EF4-FFF2-40B4-BE49-F238E27FC236}">
                <a16:creationId xmlns:a16="http://schemas.microsoft.com/office/drawing/2014/main" id="{EB9EBF97-CEAA-4220-9079-D063F58B2A8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CB2699A0-6DF8-4B72-9524-62E15A5F6D3B}"/>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7619FAB3-EA86-4865-8788-762C0BC08CB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350418448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01">
            <a:extLst>
              <a:ext uri="{FF2B5EF4-FFF2-40B4-BE49-F238E27FC236}">
                <a16:creationId xmlns:a16="http://schemas.microsoft.com/office/drawing/2014/main" id="{09643811-0C74-4A01-BA81-61628ED0CD89}"/>
              </a:ext>
            </a:extLst>
          </p:cNvPr>
          <p:cNvSpPr>
            <a:spLocks noGrp="1"/>
          </p:cNvSpPr>
          <p:nvPr>
            <p:ph type="pic" sz="quarter" idx="10"/>
          </p:nvPr>
        </p:nvSpPr>
        <p:spPr>
          <a:xfrm>
            <a:off x="2451038" y="0"/>
            <a:ext cx="9740963" cy="6858000"/>
          </a:xfrm>
          <a:custGeom>
            <a:avLst/>
            <a:gdLst>
              <a:gd name="connsiteX0" fmla="*/ 981316 w 9740963"/>
              <a:gd name="connsiteY0" fmla="*/ 5930787 h 6858000"/>
              <a:gd name="connsiteX1" fmla="*/ 1117507 w 9740963"/>
              <a:gd name="connsiteY1" fmla="*/ 6066978 h 6858000"/>
              <a:gd name="connsiteX2" fmla="*/ 1117507 w 9740963"/>
              <a:gd name="connsiteY2" fmla="*/ 6066979 h 6858000"/>
              <a:gd name="connsiteX3" fmla="*/ 1117507 w 9740963"/>
              <a:gd name="connsiteY3" fmla="*/ 6858000 h 6858000"/>
              <a:gd name="connsiteX4" fmla="*/ 0 w 9740963"/>
              <a:gd name="connsiteY4" fmla="*/ 6858000 h 6858000"/>
              <a:gd name="connsiteX5" fmla="*/ 892104 w 9740963"/>
              <a:gd name="connsiteY5" fmla="*/ 5965897 h 6858000"/>
              <a:gd name="connsiteX6" fmla="*/ 928305 w 9740963"/>
              <a:gd name="connsiteY6" fmla="*/ 5941490 h 6858000"/>
              <a:gd name="connsiteX7" fmla="*/ 981316 w 9740963"/>
              <a:gd name="connsiteY7" fmla="*/ 5930787 h 6858000"/>
              <a:gd name="connsiteX8" fmla="*/ 9583907 w 9740963"/>
              <a:gd name="connsiteY8" fmla="*/ 5514803 h 6858000"/>
              <a:gd name="connsiteX9" fmla="*/ 9740963 w 9740963"/>
              <a:gd name="connsiteY9" fmla="*/ 5514803 h 6858000"/>
              <a:gd name="connsiteX10" fmla="*/ 9740963 w 9740963"/>
              <a:gd name="connsiteY10" fmla="*/ 6004147 h 6858000"/>
              <a:gd name="connsiteX11" fmla="*/ 9490281 w 9740963"/>
              <a:gd name="connsiteY11" fmla="*/ 5753466 h 6858000"/>
              <a:gd name="connsiteX12" fmla="*/ 9490279 w 9740963"/>
              <a:gd name="connsiteY12" fmla="*/ 5753464 h 6858000"/>
              <a:gd name="connsiteX13" fmla="*/ 9470329 w 9740963"/>
              <a:gd name="connsiteY13" fmla="*/ 5733515 h 6858000"/>
              <a:gd name="connsiteX14" fmla="*/ 9449177 w 9740963"/>
              <a:gd name="connsiteY14" fmla="*/ 5702140 h 6858000"/>
              <a:gd name="connsiteX15" fmla="*/ 9438473 w 9740963"/>
              <a:gd name="connsiteY15" fmla="*/ 5649129 h 6858000"/>
              <a:gd name="connsiteX16" fmla="*/ 9521653 w 9740963"/>
              <a:gd name="connsiteY16" fmla="*/ 5523641 h 6858000"/>
              <a:gd name="connsiteX17" fmla="*/ 9565421 w 9740963"/>
              <a:gd name="connsiteY17" fmla="*/ 5514804 h 6858000"/>
              <a:gd name="connsiteX18" fmla="*/ 9583907 w 9740963"/>
              <a:gd name="connsiteY18" fmla="*/ 5514804 h 6858000"/>
              <a:gd name="connsiteX19" fmla="*/ 9014977 w 9740963"/>
              <a:gd name="connsiteY19" fmla="*/ 5514803 h 6858000"/>
              <a:gd name="connsiteX20" fmla="*/ 9067989 w 9740963"/>
              <a:gd name="connsiteY20" fmla="*/ 5525506 h 6858000"/>
              <a:gd name="connsiteX21" fmla="*/ 9104189 w 9740963"/>
              <a:gd name="connsiteY21" fmla="*/ 5549913 h 6858000"/>
              <a:gd name="connsiteX22" fmla="*/ 9740963 w 9740963"/>
              <a:gd name="connsiteY22" fmla="*/ 6186687 h 6858000"/>
              <a:gd name="connsiteX23" fmla="*/ 9740963 w 9740963"/>
              <a:gd name="connsiteY23" fmla="*/ 6858000 h 6858000"/>
              <a:gd name="connsiteX24" fmla="*/ 8878787 w 9740963"/>
              <a:gd name="connsiteY24" fmla="*/ 6858000 h 6858000"/>
              <a:gd name="connsiteX25" fmla="*/ 8878787 w 9740963"/>
              <a:gd name="connsiteY25" fmla="*/ 5650995 h 6858000"/>
              <a:gd name="connsiteX26" fmla="*/ 8878787 w 9740963"/>
              <a:gd name="connsiteY26" fmla="*/ 5650994 h 6858000"/>
              <a:gd name="connsiteX27" fmla="*/ 9014977 w 9740963"/>
              <a:gd name="connsiteY27" fmla="*/ 5514803 h 6858000"/>
              <a:gd name="connsiteX28" fmla="*/ 8615441 w 9740963"/>
              <a:gd name="connsiteY28" fmla="*/ 5514803 h 6858000"/>
              <a:gd name="connsiteX29" fmla="*/ 8751631 w 9740963"/>
              <a:gd name="connsiteY29" fmla="*/ 5650994 h 6858000"/>
              <a:gd name="connsiteX30" fmla="*/ 8751631 w 9740963"/>
              <a:gd name="connsiteY30" fmla="*/ 5650995 h 6858000"/>
              <a:gd name="connsiteX31" fmla="*/ 8751631 w 9740963"/>
              <a:gd name="connsiteY31" fmla="*/ 6858000 h 6858000"/>
              <a:gd name="connsiteX32" fmla="*/ 7218142 w 9740963"/>
              <a:gd name="connsiteY32" fmla="*/ 6858000 h 6858000"/>
              <a:gd name="connsiteX33" fmla="*/ 8526229 w 9740963"/>
              <a:gd name="connsiteY33" fmla="*/ 5549913 h 6858000"/>
              <a:gd name="connsiteX34" fmla="*/ 8562429 w 9740963"/>
              <a:gd name="connsiteY34" fmla="*/ 5525506 h 6858000"/>
              <a:gd name="connsiteX35" fmla="*/ 8615441 w 9740963"/>
              <a:gd name="connsiteY35" fmla="*/ 5514803 h 6858000"/>
              <a:gd name="connsiteX36" fmla="*/ 6477647 w 9740963"/>
              <a:gd name="connsiteY36" fmla="*/ 5514803 h 6858000"/>
              <a:gd name="connsiteX37" fmla="*/ 8046511 w 9740963"/>
              <a:gd name="connsiteY37" fmla="*/ 5514803 h 6858000"/>
              <a:gd name="connsiteX38" fmla="*/ 8046511 w 9740963"/>
              <a:gd name="connsiteY38" fmla="*/ 5514804 h 6858000"/>
              <a:gd name="connsiteX39" fmla="*/ 8064997 w 9740963"/>
              <a:gd name="connsiteY39" fmla="*/ 5514804 h 6858000"/>
              <a:gd name="connsiteX40" fmla="*/ 8108765 w 9740963"/>
              <a:gd name="connsiteY40" fmla="*/ 5523641 h 6858000"/>
              <a:gd name="connsiteX41" fmla="*/ 8191945 w 9740963"/>
              <a:gd name="connsiteY41" fmla="*/ 5649129 h 6858000"/>
              <a:gd name="connsiteX42" fmla="*/ 8181241 w 9740963"/>
              <a:gd name="connsiteY42" fmla="*/ 5702140 h 6858000"/>
              <a:gd name="connsiteX43" fmla="*/ 8160089 w 9740963"/>
              <a:gd name="connsiteY43" fmla="*/ 5733515 h 6858000"/>
              <a:gd name="connsiteX44" fmla="*/ 8140139 w 9740963"/>
              <a:gd name="connsiteY44" fmla="*/ 5753464 h 6858000"/>
              <a:gd name="connsiteX45" fmla="*/ 8140137 w 9740963"/>
              <a:gd name="connsiteY45" fmla="*/ 5753466 h 6858000"/>
              <a:gd name="connsiteX46" fmla="*/ 7035602 w 9740963"/>
              <a:gd name="connsiteY46" fmla="*/ 6858000 h 6858000"/>
              <a:gd name="connsiteX47" fmla="*/ 6334079 w 9740963"/>
              <a:gd name="connsiteY47" fmla="*/ 6858000 h 6858000"/>
              <a:gd name="connsiteX48" fmla="*/ 6334079 w 9740963"/>
              <a:gd name="connsiteY48" fmla="*/ 5658368 h 6858000"/>
              <a:gd name="connsiteX49" fmla="*/ 6334079 w 9740963"/>
              <a:gd name="connsiteY49" fmla="*/ 5658367 h 6858000"/>
              <a:gd name="connsiteX50" fmla="*/ 6334079 w 9740963"/>
              <a:gd name="connsiteY50" fmla="*/ 5639889 h 6858000"/>
              <a:gd name="connsiteX51" fmla="*/ 6342917 w 9740963"/>
              <a:gd name="connsiteY51" fmla="*/ 5596117 h 6858000"/>
              <a:gd name="connsiteX52" fmla="*/ 6415393 w 9740963"/>
              <a:gd name="connsiteY52" fmla="*/ 5523641 h 6858000"/>
              <a:gd name="connsiteX53" fmla="*/ 6459161 w 9740963"/>
              <a:gd name="connsiteY53" fmla="*/ 5514804 h 6858000"/>
              <a:gd name="connsiteX54" fmla="*/ 4494492 w 9740963"/>
              <a:gd name="connsiteY54" fmla="*/ 5514803 h 6858000"/>
              <a:gd name="connsiteX55" fmla="*/ 6063355 w 9740963"/>
              <a:gd name="connsiteY55" fmla="*/ 5514803 h 6858000"/>
              <a:gd name="connsiteX56" fmla="*/ 6081841 w 9740963"/>
              <a:gd name="connsiteY56" fmla="*/ 5514804 h 6858000"/>
              <a:gd name="connsiteX57" fmla="*/ 6125609 w 9740963"/>
              <a:gd name="connsiteY57" fmla="*/ 5523641 h 6858000"/>
              <a:gd name="connsiteX58" fmla="*/ 6198085 w 9740963"/>
              <a:gd name="connsiteY58" fmla="*/ 5596117 h 6858000"/>
              <a:gd name="connsiteX59" fmla="*/ 6206923 w 9740963"/>
              <a:gd name="connsiteY59" fmla="*/ 5639889 h 6858000"/>
              <a:gd name="connsiteX60" fmla="*/ 6206923 w 9740963"/>
              <a:gd name="connsiteY60" fmla="*/ 5658367 h 6858000"/>
              <a:gd name="connsiteX61" fmla="*/ 6206923 w 9740963"/>
              <a:gd name="connsiteY61" fmla="*/ 5658368 h 6858000"/>
              <a:gd name="connsiteX62" fmla="*/ 6206923 w 9740963"/>
              <a:gd name="connsiteY62" fmla="*/ 6858000 h 6858000"/>
              <a:gd name="connsiteX63" fmla="*/ 5505401 w 9740963"/>
              <a:gd name="connsiteY63" fmla="*/ 6858000 h 6858000"/>
              <a:gd name="connsiteX64" fmla="*/ 4400866 w 9740963"/>
              <a:gd name="connsiteY64" fmla="*/ 5753466 h 6858000"/>
              <a:gd name="connsiteX65" fmla="*/ 4400863 w 9740963"/>
              <a:gd name="connsiteY65" fmla="*/ 5753464 h 6858000"/>
              <a:gd name="connsiteX66" fmla="*/ 4380913 w 9740963"/>
              <a:gd name="connsiteY66" fmla="*/ 5733515 h 6858000"/>
              <a:gd name="connsiteX67" fmla="*/ 4359762 w 9740963"/>
              <a:gd name="connsiteY67" fmla="*/ 5702140 h 6858000"/>
              <a:gd name="connsiteX68" fmla="*/ 4349058 w 9740963"/>
              <a:gd name="connsiteY68" fmla="*/ 5649129 h 6858000"/>
              <a:gd name="connsiteX69" fmla="*/ 4432238 w 9740963"/>
              <a:gd name="connsiteY69" fmla="*/ 5523641 h 6858000"/>
              <a:gd name="connsiteX70" fmla="*/ 4476005 w 9740963"/>
              <a:gd name="connsiteY70" fmla="*/ 5514804 h 6858000"/>
              <a:gd name="connsiteX71" fmla="*/ 4494492 w 9740963"/>
              <a:gd name="connsiteY71" fmla="*/ 5514804 h 6858000"/>
              <a:gd name="connsiteX72" fmla="*/ 3925562 w 9740963"/>
              <a:gd name="connsiteY72" fmla="*/ 5514803 h 6858000"/>
              <a:gd name="connsiteX73" fmla="*/ 3978574 w 9740963"/>
              <a:gd name="connsiteY73" fmla="*/ 5525506 h 6858000"/>
              <a:gd name="connsiteX74" fmla="*/ 4014774 w 9740963"/>
              <a:gd name="connsiteY74" fmla="*/ 5549913 h 6858000"/>
              <a:gd name="connsiteX75" fmla="*/ 5322861 w 9740963"/>
              <a:gd name="connsiteY75" fmla="*/ 6858000 h 6858000"/>
              <a:gd name="connsiteX76" fmla="*/ 3789371 w 9740963"/>
              <a:gd name="connsiteY76" fmla="*/ 6858000 h 6858000"/>
              <a:gd name="connsiteX77" fmla="*/ 3789371 w 9740963"/>
              <a:gd name="connsiteY77" fmla="*/ 5650995 h 6858000"/>
              <a:gd name="connsiteX78" fmla="*/ 3789371 w 9740963"/>
              <a:gd name="connsiteY78" fmla="*/ 5650994 h 6858000"/>
              <a:gd name="connsiteX79" fmla="*/ 3925562 w 9740963"/>
              <a:gd name="connsiteY79" fmla="*/ 5514803 h 6858000"/>
              <a:gd name="connsiteX80" fmla="*/ 3526025 w 9740963"/>
              <a:gd name="connsiteY80" fmla="*/ 5514803 h 6858000"/>
              <a:gd name="connsiteX81" fmla="*/ 3662216 w 9740963"/>
              <a:gd name="connsiteY81" fmla="*/ 5650994 h 6858000"/>
              <a:gd name="connsiteX82" fmla="*/ 3662216 w 9740963"/>
              <a:gd name="connsiteY82" fmla="*/ 5650995 h 6858000"/>
              <a:gd name="connsiteX83" fmla="*/ 3662216 w 9740963"/>
              <a:gd name="connsiteY83" fmla="*/ 6858000 h 6858000"/>
              <a:gd name="connsiteX84" fmla="*/ 2128725 w 9740963"/>
              <a:gd name="connsiteY84" fmla="*/ 6858000 h 6858000"/>
              <a:gd name="connsiteX85" fmla="*/ 3436813 w 9740963"/>
              <a:gd name="connsiteY85" fmla="*/ 5549913 h 6858000"/>
              <a:gd name="connsiteX86" fmla="*/ 3473013 w 9740963"/>
              <a:gd name="connsiteY86" fmla="*/ 5525506 h 6858000"/>
              <a:gd name="connsiteX87" fmla="*/ 3526025 w 9740963"/>
              <a:gd name="connsiteY87" fmla="*/ 5514803 h 6858000"/>
              <a:gd name="connsiteX88" fmla="*/ 1388232 w 9740963"/>
              <a:gd name="connsiteY88" fmla="*/ 5514803 h 6858000"/>
              <a:gd name="connsiteX89" fmla="*/ 2957095 w 9740963"/>
              <a:gd name="connsiteY89" fmla="*/ 5514803 h 6858000"/>
              <a:gd name="connsiteX90" fmla="*/ 2957095 w 9740963"/>
              <a:gd name="connsiteY90" fmla="*/ 5514804 h 6858000"/>
              <a:gd name="connsiteX91" fmla="*/ 2975581 w 9740963"/>
              <a:gd name="connsiteY91" fmla="*/ 5514804 h 6858000"/>
              <a:gd name="connsiteX92" fmla="*/ 3019349 w 9740963"/>
              <a:gd name="connsiteY92" fmla="*/ 5523641 h 6858000"/>
              <a:gd name="connsiteX93" fmla="*/ 3102529 w 9740963"/>
              <a:gd name="connsiteY93" fmla="*/ 5649129 h 6858000"/>
              <a:gd name="connsiteX94" fmla="*/ 3091826 w 9740963"/>
              <a:gd name="connsiteY94" fmla="*/ 5702140 h 6858000"/>
              <a:gd name="connsiteX95" fmla="*/ 3070674 w 9740963"/>
              <a:gd name="connsiteY95" fmla="*/ 5733515 h 6858000"/>
              <a:gd name="connsiteX96" fmla="*/ 3050724 w 9740963"/>
              <a:gd name="connsiteY96" fmla="*/ 5753464 h 6858000"/>
              <a:gd name="connsiteX97" fmla="*/ 3050722 w 9740963"/>
              <a:gd name="connsiteY97" fmla="*/ 5753466 h 6858000"/>
              <a:gd name="connsiteX98" fmla="*/ 1946187 w 9740963"/>
              <a:gd name="connsiteY98" fmla="*/ 6858000 h 6858000"/>
              <a:gd name="connsiteX99" fmla="*/ 1244663 w 9740963"/>
              <a:gd name="connsiteY99" fmla="*/ 6858000 h 6858000"/>
              <a:gd name="connsiteX100" fmla="*/ 1244663 w 9740963"/>
              <a:gd name="connsiteY100" fmla="*/ 5658367 h 6858000"/>
              <a:gd name="connsiteX101" fmla="*/ 1244664 w 9740963"/>
              <a:gd name="connsiteY101" fmla="*/ 5658368 h 6858000"/>
              <a:gd name="connsiteX102" fmla="*/ 1244664 w 9740963"/>
              <a:gd name="connsiteY102" fmla="*/ 5639889 h 6858000"/>
              <a:gd name="connsiteX103" fmla="*/ 1253501 w 9740963"/>
              <a:gd name="connsiteY103" fmla="*/ 5596117 h 6858000"/>
              <a:gd name="connsiteX104" fmla="*/ 1325978 w 9740963"/>
              <a:gd name="connsiteY104" fmla="*/ 5523641 h 6858000"/>
              <a:gd name="connsiteX105" fmla="*/ 1369746 w 9740963"/>
              <a:gd name="connsiteY105" fmla="*/ 5514804 h 6858000"/>
              <a:gd name="connsiteX106" fmla="*/ 9583907 w 9740963"/>
              <a:gd name="connsiteY106" fmla="*/ 3506125 h 6858000"/>
              <a:gd name="connsiteX107" fmla="*/ 9740963 w 9740963"/>
              <a:gd name="connsiteY107" fmla="*/ 3506125 h 6858000"/>
              <a:gd name="connsiteX108" fmla="*/ 9740963 w 9740963"/>
              <a:gd name="connsiteY108" fmla="*/ 3995469 h 6858000"/>
              <a:gd name="connsiteX109" fmla="*/ 9490281 w 9740963"/>
              <a:gd name="connsiteY109" fmla="*/ 3744788 h 6858000"/>
              <a:gd name="connsiteX110" fmla="*/ 9490279 w 9740963"/>
              <a:gd name="connsiteY110" fmla="*/ 3744786 h 6858000"/>
              <a:gd name="connsiteX111" fmla="*/ 9470329 w 9740963"/>
              <a:gd name="connsiteY111" fmla="*/ 3724837 h 6858000"/>
              <a:gd name="connsiteX112" fmla="*/ 9449177 w 9740963"/>
              <a:gd name="connsiteY112" fmla="*/ 3693462 h 6858000"/>
              <a:gd name="connsiteX113" fmla="*/ 9438473 w 9740963"/>
              <a:gd name="connsiteY113" fmla="*/ 3640451 h 6858000"/>
              <a:gd name="connsiteX114" fmla="*/ 9521653 w 9740963"/>
              <a:gd name="connsiteY114" fmla="*/ 3514963 h 6858000"/>
              <a:gd name="connsiteX115" fmla="*/ 9565421 w 9740963"/>
              <a:gd name="connsiteY115" fmla="*/ 3506126 h 6858000"/>
              <a:gd name="connsiteX116" fmla="*/ 9583907 w 9740963"/>
              <a:gd name="connsiteY116" fmla="*/ 3506126 h 6858000"/>
              <a:gd name="connsiteX117" fmla="*/ 9014977 w 9740963"/>
              <a:gd name="connsiteY117" fmla="*/ 3506125 h 6858000"/>
              <a:gd name="connsiteX118" fmla="*/ 9067989 w 9740963"/>
              <a:gd name="connsiteY118" fmla="*/ 3516828 h 6858000"/>
              <a:gd name="connsiteX119" fmla="*/ 9104189 w 9740963"/>
              <a:gd name="connsiteY119" fmla="*/ 3541235 h 6858000"/>
              <a:gd name="connsiteX120" fmla="*/ 9740963 w 9740963"/>
              <a:gd name="connsiteY120" fmla="*/ 4178008 h 6858000"/>
              <a:gd name="connsiteX121" fmla="*/ 9740963 w 9740963"/>
              <a:gd name="connsiteY121" fmla="*/ 5360553 h 6858000"/>
              <a:gd name="connsiteX122" fmla="*/ 9022355 w 9740963"/>
              <a:gd name="connsiteY122" fmla="*/ 5360553 h 6858000"/>
              <a:gd name="connsiteX123" fmla="*/ 9003869 w 9740963"/>
              <a:gd name="connsiteY123" fmla="*/ 5360552 h 6858000"/>
              <a:gd name="connsiteX124" fmla="*/ 8960101 w 9740963"/>
              <a:gd name="connsiteY124" fmla="*/ 5351716 h 6858000"/>
              <a:gd name="connsiteX125" fmla="*/ 8887625 w 9740963"/>
              <a:gd name="connsiteY125" fmla="*/ 5279239 h 6858000"/>
              <a:gd name="connsiteX126" fmla="*/ 8878787 w 9740963"/>
              <a:gd name="connsiteY126" fmla="*/ 5235467 h 6858000"/>
              <a:gd name="connsiteX127" fmla="*/ 8878787 w 9740963"/>
              <a:gd name="connsiteY127" fmla="*/ 5216989 h 6858000"/>
              <a:gd name="connsiteX128" fmla="*/ 8878787 w 9740963"/>
              <a:gd name="connsiteY128" fmla="*/ 5216988 h 6858000"/>
              <a:gd name="connsiteX129" fmla="*/ 8878787 w 9740963"/>
              <a:gd name="connsiteY129" fmla="*/ 3642317 h 6858000"/>
              <a:gd name="connsiteX130" fmla="*/ 8878787 w 9740963"/>
              <a:gd name="connsiteY130" fmla="*/ 3642316 h 6858000"/>
              <a:gd name="connsiteX131" fmla="*/ 9014977 w 9740963"/>
              <a:gd name="connsiteY131" fmla="*/ 3506125 h 6858000"/>
              <a:gd name="connsiteX132" fmla="*/ 8615441 w 9740963"/>
              <a:gd name="connsiteY132" fmla="*/ 3506125 h 6858000"/>
              <a:gd name="connsiteX133" fmla="*/ 8751631 w 9740963"/>
              <a:gd name="connsiteY133" fmla="*/ 3642316 h 6858000"/>
              <a:gd name="connsiteX134" fmla="*/ 8751631 w 9740963"/>
              <a:gd name="connsiteY134" fmla="*/ 3642317 h 6858000"/>
              <a:gd name="connsiteX135" fmla="*/ 8751631 w 9740963"/>
              <a:gd name="connsiteY135" fmla="*/ 5216988 h 6858000"/>
              <a:gd name="connsiteX136" fmla="*/ 8751631 w 9740963"/>
              <a:gd name="connsiteY136" fmla="*/ 5216989 h 6858000"/>
              <a:gd name="connsiteX137" fmla="*/ 8751631 w 9740963"/>
              <a:gd name="connsiteY137" fmla="*/ 5235467 h 6858000"/>
              <a:gd name="connsiteX138" fmla="*/ 8742793 w 9740963"/>
              <a:gd name="connsiteY138" fmla="*/ 5279239 h 6858000"/>
              <a:gd name="connsiteX139" fmla="*/ 8670317 w 9740963"/>
              <a:gd name="connsiteY139" fmla="*/ 5351716 h 6858000"/>
              <a:gd name="connsiteX140" fmla="*/ 8626549 w 9740963"/>
              <a:gd name="connsiteY140" fmla="*/ 5360552 h 6858000"/>
              <a:gd name="connsiteX141" fmla="*/ 8608063 w 9740963"/>
              <a:gd name="connsiteY141" fmla="*/ 5360553 h 6858000"/>
              <a:gd name="connsiteX142" fmla="*/ 7039199 w 9740963"/>
              <a:gd name="connsiteY142" fmla="*/ 5360553 h 6858000"/>
              <a:gd name="connsiteX143" fmla="*/ 7039199 w 9740963"/>
              <a:gd name="connsiteY143" fmla="*/ 5360552 h 6858000"/>
              <a:gd name="connsiteX144" fmla="*/ 7020713 w 9740963"/>
              <a:gd name="connsiteY144" fmla="*/ 5360552 h 6858000"/>
              <a:gd name="connsiteX145" fmla="*/ 6976945 w 9740963"/>
              <a:gd name="connsiteY145" fmla="*/ 5351716 h 6858000"/>
              <a:gd name="connsiteX146" fmla="*/ 6893765 w 9740963"/>
              <a:gd name="connsiteY146" fmla="*/ 5226228 h 6858000"/>
              <a:gd name="connsiteX147" fmla="*/ 6904469 w 9740963"/>
              <a:gd name="connsiteY147" fmla="*/ 5173216 h 6858000"/>
              <a:gd name="connsiteX148" fmla="*/ 6925621 w 9740963"/>
              <a:gd name="connsiteY148" fmla="*/ 5141842 h 6858000"/>
              <a:gd name="connsiteX149" fmla="*/ 6945571 w 9740963"/>
              <a:gd name="connsiteY149" fmla="*/ 5121892 h 6858000"/>
              <a:gd name="connsiteX150" fmla="*/ 6945573 w 9740963"/>
              <a:gd name="connsiteY150" fmla="*/ 5121891 h 6858000"/>
              <a:gd name="connsiteX151" fmla="*/ 8526229 w 9740963"/>
              <a:gd name="connsiteY151" fmla="*/ 3541235 h 6858000"/>
              <a:gd name="connsiteX152" fmla="*/ 8562429 w 9740963"/>
              <a:gd name="connsiteY152" fmla="*/ 3516828 h 6858000"/>
              <a:gd name="connsiteX153" fmla="*/ 8615441 w 9740963"/>
              <a:gd name="connsiteY153" fmla="*/ 3506125 h 6858000"/>
              <a:gd name="connsiteX154" fmla="*/ 6477647 w 9740963"/>
              <a:gd name="connsiteY154" fmla="*/ 3506125 h 6858000"/>
              <a:gd name="connsiteX155" fmla="*/ 8046511 w 9740963"/>
              <a:gd name="connsiteY155" fmla="*/ 3506125 h 6858000"/>
              <a:gd name="connsiteX156" fmla="*/ 8046511 w 9740963"/>
              <a:gd name="connsiteY156" fmla="*/ 3506126 h 6858000"/>
              <a:gd name="connsiteX157" fmla="*/ 8064997 w 9740963"/>
              <a:gd name="connsiteY157" fmla="*/ 3506126 h 6858000"/>
              <a:gd name="connsiteX158" fmla="*/ 8108765 w 9740963"/>
              <a:gd name="connsiteY158" fmla="*/ 3514963 h 6858000"/>
              <a:gd name="connsiteX159" fmla="*/ 8191945 w 9740963"/>
              <a:gd name="connsiteY159" fmla="*/ 3640451 h 6858000"/>
              <a:gd name="connsiteX160" fmla="*/ 8181241 w 9740963"/>
              <a:gd name="connsiteY160" fmla="*/ 3693462 h 6858000"/>
              <a:gd name="connsiteX161" fmla="*/ 8160089 w 9740963"/>
              <a:gd name="connsiteY161" fmla="*/ 3724837 h 6858000"/>
              <a:gd name="connsiteX162" fmla="*/ 8140139 w 9740963"/>
              <a:gd name="connsiteY162" fmla="*/ 3744786 h 6858000"/>
              <a:gd name="connsiteX163" fmla="*/ 8140137 w 9740963"/>
              <a:gd name="connsiteY163" fmla="*/ 3744788 h 6858000"/>
              <a:gd name="connsiteX164" fmla="*/ 6559481 w 9740963"/>
              <a:gd name="connsiteY164" fmla="*/ 5325443 h 6858000"/>
              <a:gd name="connsiteX165" fmla="*/ 6523281 w 9740963"/>
              <a:gd name="connsiteY165" fmla="*/ 5349850 h 6858000"/>
              <a:gd name="connsiteX166" fmla="*/ 6470269 w 9740963"/>
              <a:gd name="connsiteY166" fmla="*/ 5360553 h 6858000"/>
              <a:gd name="connsiteX167" fmla="*/ 6334079 w 9740963"/>
              <a:gd name="connsiteY167" fmla="*/ 5224362 h 6858000"/>
              <a:gd name="connsiteX168" fmla="*/ 6334079 w 9740963"/>
              <a:gd name="connsiteY168" fmla="*/ 3649690 h 6858000"/>
              <a:gd name="connsiteX169" fmla="*/ 6334079 w 9740963"/>
              <a:gd name="connsiteY169" fmla="*/ 3649689 h 6858000"/>
              <a:gd name="connsiteX170" fmla="*/ 6334079 w 9740963"/>
              <a:gd name="connsiteY170" fmla="*/ 3631211 h 6858000"/>
              <a:gd name="connsiteX171" fmla="*/ 6342917 w 9740963"/>
              <a:gd name="connsiteY171" fmla="*/ 3587439 h 6858000"/>
              <a:gd name="connsiteX172" fmla="*/ 6415393 w 9740963"/>
              <a:gd name="connsiteY172" fmla="*/ 3514963 h 6858000"/>
              <a:gd name="connsiteX173" fmla="*/ 6459161 w 9740963"/>
              <a:gd name="connsiteY173" fmla="*/ 3506126 h 6858000"/>
              <a:gd name="connsiteX174" fmla="*/ 4494492 w 9740963"/>
              <a:gd name="connsiteY174" fmla="*/ 3506125 h 6858000"/>
              <a:gd name="connsiteX175" fmla="*/ 6063355 w 9740963"/>
              <a:gd name="connsiteY175" fmla="*/ 3506125 h 6858000"/>
              <a:gd name="connsiteX176" fmla="*/ 6081841 w 9740963"/>
              <a:gd name="connsiteY176" fmla="*/ 3506126 h 6858000"/>
              <a:gd name="connsiteX177" fmla="*/ 6125609 w 9740963"/>
              <a:gd name="connsiteY177" fmla="*/ 3514963 h 6858000"/>
              <a:gd name="connsiteX178" fmla="*/ 6198085 w 9740963"/>
              <a:gd name="connsiteY178" fmla="*/ 3587439 h 6858000"/>
              <a:gd name="connsiteX179" fmla="*/ 6206923 w 9740963"/>
              <a:gd name="connsiteY179" fmla="*/ 3631211 h 6858000"/>
              <a:gd name="connsiteX180" fmla="*/ 6206923 w 9740963"/>
              <a:gd name="connsiteY180" fmla="*/ 3649689 h 6858000"/>
              <a:gd name="connsiteX181" fmla="*/ 6206923 w 9740963"/>
              <a:gd name="connsiteY181" fmla="*/ 3649690 h 6858000"/>
              <a:gd name="connsiteX182" fmla="*/ 6206923 w 9740963"/>
              <a:gd name="connsiteY182" fmla="*/ 5224362 h 6858000"/>
              <a:gd name="connsiteX183" fmla="*/ 6070733 w 9740963"/>
              <a:gd name="connsiteY183" fmla="*/ 5360553 h 6858000"/>
              <a:gd name="connsiteX184" fmla="*/ 6017721 w 9740963"/>
              <a:gd name="connsiteY184" fmla="*/ 5349850 h 6858000"/>
              <a:gd name="connsiteX185" fmla="*/ 5981521 w 9740963"/>
              <a:gd name="connsiteY185" fmla="*/ 5325443 h 6858000"/>
              <a:gd name="connsiteX186" fmla="*/ 4400866 w 9740963"/>
              <a:gd name="connsiteY186" fmla="*/ 3744788 h 6858000"/>
              <a:gd name="connsiteX187" fmla="*/ 4400864 w 9740963"/>
              <a:gd name="connsiteY187" fmla="*/ 3744786 h 6858000"/>
              <a:gd name="connsiteX188" fmla="*/ 4380913 w 9740963"/>
              <a:gd name="connsiteY188" fmla="*/ 3724837 h 6858000"/>
              <a:gd name="connsiteX189" fmla="*/ 4359762 w 9740963"/>
              <a:gd name="connsiteY189" fmla="*/ 3693462 h 6858000"/>
              <a:gd name="connsiteX190" fmla="*/ 4349058 w 9740963"/>
              <a:gd name="connsiteY190" fmla="*/ 3640451 h 6858000"/>
              <a:gd name="connsiteX191" fmla="*/ 4432239 w 9740963"/>
              <a:gd name="connsiteY191" fmla="*/ 3514963 h 6858000"/>
              <a:gd name="connsiteX192" fmla="*/ 4476005 w 9740963"/>
              <a:gd name="connsiteY192" fmla="*/ 3506126 h 6858000"/>
              <a:gd name="connsiteX193" fmla="*/ 4494492 w 9740963"/>
              <a:gd name="connsiteY193" fmla="*/ 3506126 h 6858000"/>
              <a:gd name="connsiteX194" fmla="*/ 3925563 w 9740963"/>
              <a:gd name="connsiteY194" fmla="*/ 3506125 h 6858000"/>
              <a:gd name="connsiteX195" fmla="*/ 3978574 w 9740963"/>
              <a:gd name="connsiteY195" fmla="*/ 3516828 h 6858000"/>
              <a:gd name="connsiteX196" fmla="*/ 4014774 w 9740963"/>
              <a:gd name="connsiteY196" fmla="*/ 3541235 h 6858000"/>
              <a:gd name="connsiteX197" fmla="*/ 5595430 w 9740963"/>
              <a:gd name="connsiteY197" fmla="*/ 5121891 h 6858000"/>
              <a:gd name="connsiteX198" fmla="*/ 5595432 w 9740963"/>
              <a:gd name="connsiteY198" fmla="*/ 5121892 h 6858000"/>
              <a:gd name="connsiteX199" fmla="*/ 5615381 w 9740963"/>
              <a:gd name="connsiteY199" fmla="*/ 5141842 h 6858000"/>
              <a:gd name="connsiteX200" fmla="*/ 5636534 w 9740963"/>
              <a:gd name="connsiteY200" fmla="*/ 5173216 h 6858000"/>
              <a:gd name="connsiteX201" fmla="*/ 5647237 w 9740963"/>
              <a:gd name="connsiteY201" fmla="*/ 5226228 h 6858000"/>
              <a:gd name="connsiteX202" fmla="*/ 5564057 w 9740963"/>
              <a:gd name="connsiteY202" fmla="*/ 5351716 h 6858000"/>
              <a:gd name="connsiteX203" fmla="*/ 5520289 w 9740963"/>
              <a:gd name="connsiteY203" fmla="*/ 5360552 h 6858000"/>
              <a:gd name="connsiteX204" fmla="*/ 5501803 w 9740963"/>
              <a:gd name="connsiteY204" fmla="*/ 5360552 h 6858000"/>
              <a:gd name="connsiteX205" fmla="*/ 5501803 w 9740963"/>
              <a:gd name="connsiteY205" fmla="*/ 5360553 h 6858000"/>
              <a:gd name="connsiteX206" fmla="*/ 3932940 w 9740963"/>
              <a:gd name="connsiteY206" fmla="*/ 5360553 h 6858000"/>
              <a:gd name="connsiteX207" fmla="*/ 3914454 w 9740963"/>
              <a:gd name="connsiteY207" fmla="*/ 5360552 h 6858000"/>
              <a:gd name="connsiteX208" fmla="*/ 3870687 w 9740963"/>
              <a:gd name="connsiteY208" fmla="*/ 5351716 h 6858000"/>
              <a:gd name="connsiteX209" fmla="*/ 3798210 w 9740963"/>
              <a:gd name="connsiteY209" fmla="*/ 5279239 h 6858000"/>
              <a:gd name="connsiteX210" fmla="*/ 3789372 w 9740963"/>
              <a:gd name="connsiteY210" fmla="*/ 5235467 h 6858000"/>
              <a:gd name="connsiteX211" fmla="*/ 3789372 w 9740963"/>
              <a:gd name="connsiteY211" fmla="*/ 5216988 h 6858000"/>
              <a:gd name="connsiteX212" fmla="*/ 3789371 w 9740963"/>
              <a:gd name="connsiteY212" fmla="*/ 5216989 h 6858000"/>
              <a:gd name="connsiteX213" fmla="*/ 3789371 w 9740963"/>
              <a:gd name="connsiteY213" fmla="*/ 3642317 h 6858000"/>
              <a:gd name="connsiteX214" fmla="*/ 3789371 w 9740963"/>
              <a:gd name="connsiteY214" fmla="*/ 3642316 h 6858000"/>
              <a:gd name="connsiteX215" fmla="*/ 3925563 w 9740963"/>
              <a:gd name="connsiteY215" fmla="*/ 3506125 h 6858000"/>
              <a:gd name="connsiteX216" fmla="*/ 3526024 w 9740963"/>
              <a:gd name="connsiteY216" fmla="*/ 3506125 h 6858000"/>
              <a:gd name="connsiteX217" fmla="*/ 3662215 w 9740963"/>
              <a:gd name="connsiteY217" fmla="*/ 3642316 h 6858000"/>
              <a:gd name="connsiteX218" fmla="*/ 3662215 w 9740963"/>
              <a:gd name="connsiteY218" fmla="*/ 3642317 h 6858000"/>
              <a:gd name="connsiteX219" fmla="*/ 3662215 w 9740963"/>
              <a:gd name="connsiteY219" fmla="*/ 5216988 h 6858000"/>
              <a:gd name="connsiteX220" fmla="*/ 3662215 w 9740963"/>
              <a:gd name="connsiteY220" fmla="*/ 5216989 h 6858000"/>
              <a:gd name="connsiteX221" fmla="*/ 3662215 w 9740963"/>
              <a:gd name="connsiteY221" fmla="*/ 5235467 h 6858000"/>
              <a:gd name="connsiteX222" fmla="*/ 3653377 w 9740963"/>
              <a:gd name="connsiteY222" fmla="*/ 5279239 h 6858000"/>
              <a:gd name="connsiteX223" fmla="*/ 3580900 w 9740963"/>
              <a:gd name="connsiteY223" fmla="*/ 5351716 h 6858000"/>
              <a:gd name="connsiteX224" fmla="*/ 3537132 w 9740963"/>
              <a:gd name="connsiteY224" fmla="*/ 5360552 h 6858000"/>
              <a:gd name="connsiteX225" fmla="*/ 3518647 w 9740963"/>
              <a:gd name="connsiteY225" fmla="*/ 5360553 h 6858000"/>
              <a:gd name="connsiteX226" fmla="*/ 1949784 w 9740963"/>
              <a:gd name="connsiteY226" fmla="*/ 5360553 h 6858000"/>
              <a:gd name="connsiteX227" fmla="*/ 1949784 w 9740963"/>
              <a:gd name="connsiteY227" fmla="*/ 5360552 h 6858000"/>
              <a:gd name="connsiteX228" fmla="*/ 1931296 w 9740963"/>
              <a:gd name="connsiteY228" fmla="*/ 5360552 h 6858000"/>
              <a:gd name="connsiteX229" fmla="*/ 1887528 w 9740963"/>
              <a:gd name="connsiteY229" fmla="*/ 5351716 h 6858000"/>
              <a:gd name="connsiteX230" fmla="*/ 1804350 w 9740963"/>
              <a:gd name="connsiteY230" fmla="*/ 5226228 h 6858000"/>
              <a:gd name="connsiteX231" fmla="*/ 1815052 w 9740963"/>
              <a:gd name="connsiteY231" fmla="*/ 5173216 h 6858000"/>
              <a:gd name="connsiteX232" fmla="*/ 1836205 w 9740963"/>
              <a:gd name="connsiteY232" fmla="*/ 5141842 h 6858000"/>
              <a:gd name="connsiteX233" fmla="*/ 1856154 w 9740963"/>
              <a:gd name="connsiteY233" fmla="*/ 5121892 h 6858000"/>
              <a:gd name="connsiteX234" fmla="*/ 1856156 w 9740963"/>
              <a:gd name="connsiteY234" fmla="*/ 5121891 h 6858000"/>
              <a:gd name="connsiteX235" fmla="*/ 3436812 w 9740963"/>
              <a:gd name="connsiteY235" fmla="*/ 3541235 h 6858000"/>
              <a:gd name="connsiteX236" fmla="*/ 3473013 w 9740963"/>
              <a:gd name="connsiteY236" fmla="*/ 3516828 h 6858000"/>
              <a:gd name="connsiteX237" fmla="*/ 3526024 w 9740963"/>
              <a:gd name="connsiteY237" fmla="*/ 3506125 h 6858000"/>
              <a:gd name="connsiteX238" fmla="*/ 9740963 w 9740963"/>
              <a:gd name="connsiteY238" fmla="*/ 2862533 h 6858000"/>
              <a:gd name="connsiteX239" fmla="*/ 9740963 w 9740963"/>
              <a:gd name="connsiteY239" fmla="*/ 3351876 h 6858000"/>
              <a:gd name="connsiteX240" fmla="*/ 9583907 w 9740963"/>
              <a:gd name="connsiteY240" fmla="*/ 3351876 h 6858000"/>
              <a:gd name="connsiteX241" fmla="*/ 9583907 w 9740963"/>
              <a:gd name="connsiteY241" fmla="*/ 3351875 h 6858000"/>
              <a:gd name="connsiteX242" fmla="*/ 9565421 w 9740963"/>
              <a:gd name="connsiteY242" fmla="*/ 3351875 h 6858000"/>
              <a:gd name="connsiteX243" fmla="*/ 9521653 w 9740963"/>
              <a:gd name="connsiteY243" fmla="*/ 3343039 h 6858000"/>
              <a:gd name="connsiteX244" fmla="*/ 9438473 w 9740963"/>
              <a:gd name="connsiteY244" fmla="*/ 3217551 h 6858000"/>
              <a:gd name="connsiteX245" fmla="*/ 9449177 w 9740963"/>
              <a:gd name="connsiteY245" fmla="*/ 3164541 h 6858000"/>
              <a:gd name="connsiteX246" fmla="*/ 9470329 w 9740963"/>
              <a:gd name="connsiteY246" fmla="*/ 3133166 h 6858000"/>
              <a:gd name="connsiteX247" fmla="*/ 9490279 w 9740963"/>
              <a:gd name="connsiteY247" fmla="*/ 3113216 h 6858000"/>
              <a:gd name="connsiteX248" fmla="*/ 9490281 w 9740963"/>
              <a:gd name="connsiteY248" fmla="*/ 3113215 h 6858000"/>
              <a:gd name="connsiteX249" fmla="*/ 9022355 w 9740963"/>
              <a:gd name="connsiteY249" fmla="*/ 1497450 h 6858000"/>
              <a:gd name="connsiteX250" fmla="*/ 9740963 w 9740963"/>
              <a:gd name="connsiteY250" fmla="*/ 1497450 h 6858000"/>
              <a:gd name="connsiteX251" fmla="*/ 9740963 w 9740963"/>
              <a:gd name="connsiteY251" fmla="*/ 2679993 h 6858000"/>
              <a:gd name="connsiteX252" fmla="*/ 9104189 w 9740963"/>
              <a:gd name="connsiteY252" fmla="*/ 3316766 h 6858000"/>
              <a:gd name="connsiteX253" fmla="*/ 9067989 w 9740963"/>
              <a:gd name="connsiteY253" fmla="*/ 3341173 h 6858000"/>
              <a:gd name="connsiteX254" fmla="*/ 9014977 w 9740963"/>
              <a:gd name="connsiteY254" fmla="*/ 3351876 h 6858000"/>
              <a:gd name="connsiteX255" fmla="*/ 8878787 w 9740963"/>
              <a:gd name="connsiteY255" fmla="*/ 3215686 h 6858000"/>
              <a:gd name="connsiteX256" fmla="*/ 8878787 w 9740963"/>
              <a:gd name="connsiteY256" fmla="*/ 3215685 h 6858000"/>
              <a:gd name="connsiteX257" fmla="*/ 8878787 w 9740963"/>
              <a:gd name="connsiteY257" fmla="*/ 1641015 h 6858000"/>
              <a:gd name="connsiteX258" fmla="*/ 8878787 w 9740963"/>
              <a:gd name="connsiteY258" fmla="*/ 1641014 h 6858000"/>
              <a:gd name="connsiteX259" fmla="*/ 8878787 w 9740963"/>
              <a:gd name="connsiteY259" fmla="*/ 1622536 h 6858000"/>
              <a:gd name="connsiteX260" fmla="*/ 8887625 w 9740963"/>
              <a:gd name="connsiteY260" fmla="*/ 1578764 h 6858000"/>
              <a:gd name="connsiteX261" fmla="*/ 8960101 w 9740963"/>
              <a:gd name="connsiteY261" fmla="*/ 1506287 h 6858000"/>
              <a:gd name="connsiteX262" fmla="*/ 9003869 w 9740963"/>
              <a:gd name="connsiteY262" fmla="*/ 1497451 h 6858000"/>
              <a:gd name="connsiteX263" fmla="*/ 7039199 w 9740963"/>
              <a:gd name="connsiteY263" fmla="*/ 1497450 h 6858000"/>
              <a:gd name="connsiteX264" fmla="*/ 8608063 w 9740963"/>
              <a:gd name="connsiteY264" fmla="*/ 1497450 h 6858000"/>
              <a:gd name="connsiteX265" fmla="*/ 8626549 w 9740963"/>
              <a:gd name="connsiteY265" fmla="*/ 1497451 h 6858000"/>
              <a:gd name="connsiteX266" fmla="*/ 8670317 w 9740963"/>
              <a:gd name="connsiteY266" fmla="*/ 1506287 h 6858000"/>
              <a:gd name="connsiteX267" fmla="*/ 8742793 w 9740963"/>
              <a:gd name="connsiteY267" fmla="*/ 1578764 h 6858000"/>
              <a:gd name="connsiteX268" fmla="*/ 8751631 w 9740963"/>
              <a:gd name="connsiteY268" fmla="*/ 1622536 h 6858000"/>
              <a:gd name="connsiteX269" fmla="*/ 8751631 w 9740963"/>
              <a:gd name="connsiteY269" fmla="*/ 1641014 h 6858000"/>
              <a:gd name="connsiteX270" fmla="*/ 8751631 w 9740963"/>
              <a:gd name="connsiteY270" fmla="*/ 1641015 h 6858000"/>
              <a:gd name="connsiteX271" fmla="*/ 8751631 w 9740963"/>
              <a:gd name="connsiteY271" fmla="*/ 3215685 h 6858000"/>
              <a:gd name="connsiteX272" fmla="*/ 8751631 w 9740963"/>
              <a:gd name="connsiteY272" fmla="*/ 3215686 h 6858000"/>
              <a:gd name="connsiteX273" fmla="*/ 8615441 w 9740963"/>
              <a:gd name="connsiteY273" fmla="*/ 3351876 h 6858000"/>
              <a:gd name="connsiteX274" fmla="*/ 8562429 w 9740963"/>
              <a:gd name="connsiteY274" fmla="*/ 3341173 h 6858000"/>
              <a:gd name="connsiteX275" fmla="*/ 8526229 w 9740963"/>
              <a:gd name="connsiteY275" fmla="*/ 3316766 h 6858000"/>
              <a:gd name="connsiteX276" fmla="*/ 6945573 w 9740963"/>
              <a:gd name="connsiteY276" fmla="*/ 1736112 h 6858000"/>
              <a:gd name="connsiteX277" fmla="*/ 6945571 w 9740963"/>
              <a:gd name="connsiteY277" fmla="*/ 1736111 h 6858000"/>
              <a:gd name="connsiteX278" fmla="*/ 6925621 w 9740963"/>
              <a:gd name="connsiteY278" fmla="*/ 1716161 h 6858000"/>
              <a:gd name="connsiteX279" fmla="*/ 6904469 w 9740963"/>
              <a:gd name="connsiteY279" fmla="*/ 1684787 h 6858000"/>
              <a:gd name="connsiteX280" fmla="*/ 6893765 w 9740963"/>
              <a:gd name="connsiteY280" fmla="*/ 1631775 h 6858000"/>
              <a:gd name="connsiteX281" fmla="*/ 6976945 w 9740963"/>
              <a:gd name="connsiteY281" fmla="*/ 1506287 h 6858000"/>
              <a:gd name="connsiteX282" fmla="*/ 7020713 w 9740963"/>
              <a:gd name="connsiteY282" fmla="*/ 1497451 h 6858000"/>
              <a:gd name="connsiteX283" fmla="*/ 7039199 w 9740963"/>
              <a:gd name="connsiteY283" fmla="*/ 1497451 h 6858000"/>
              <a:gd name="connsiteX284" fmla="*/ 6470269 w 9740963"/>
              <a:gd name="connsiteY284" fmla="*/ 1497450 h 6858000"/>
              <a:gd name="connsiteX285" fmla="*/ 6523281 w 9740963"/>
              <a:gd name="connsiteY285" fmla="*/ 1508153 h 6858000"/>
              <a:gd name="connsiteX286" fmla="*/ 6559481 w 9740963"/>
              <a:gd name="connsiteY286" fmla="*/ 1532560 h 6858000"/>
              <a:gd name="connsiteX287" fmla="*/ 8140137 w 9740963"/>
              <a:gd name="connsiteY287" fmla="*/ 3113215 h 6858000"/>
              <a:gd name="connsiteX288" fmla="*/ 8140139 w 9740963"/>
              <a:gd name="connsiteY288" fmla="*/ 3113216 h 6858000"/>
              <a:gd name="connsiteX289" fmla="*/ 8160089 w 9740963"/>
              <a:gd name="connsiteY289" fmla="*/ 3133166 h 6858000"/>
              <a:gd name="connsiteX290" fmla="*/ 8181241 w 9740963"/>
              <a:gd name="connsiteY290" fmla="*/ 3164541 h 6858000"/>
              <a:gd name="connsiteX291" fmla="*/ 8191945 w 9740963"/>
              <a:gd name="connsiteY291" fmla="*/ 3217551 h 6858000"/>
              <a:gd name="connsiteX292" fmla="*/ 8108765 w 9740963"/>
              <a:gd name="connsiteY292" fmla="*/ 3343039 h 6858000"/>
              <a:gd name="connsiteX293" fmla="*/ 8064997 w 9740963"/>
              <a:gd name="connsiteY293" fmla="*/ 3351875 h 6858000"/>
              <a:gd name="connsiteX294" fmla="*/ 8046511 w 9740963"/>
              <a:gd name="connsiteY294" fmla="*/ 3351875 h 6858000"/>
              <a:gd name="connsiteX295" fmla="*/ 8046511 w 9740963"/>
              <a:gd name="connsiteY295" fmla="*/ 3351876 h 6858000"/>
              <a:gd name="connsiteX296" fmla="*/ 6477647 w 9740963"/>
              <a:gd name="connsiteY296" fmla="*/ 3351876 h 6858000"/>
              <a:gd name="connsiteX297" fmla="*/ 6459161 w 9740963"/>
              <a:gd name="connsiteY297" fmla="*/ 3351875 h 6858000"/>
              <a:gd name="connsiteX298" fmla="*/ 6415393 w 9740963"/>
              <a:gd name="connsiteY298" fmla="*/ 3343039 h 6858000"/>
              <a:gd name="connsiteX299" fmla="*/ 6342917 w 9740963"/>
              <a:gd name="connsiteY299" fmla="*/ 3270562 h 6858000"/>
              <a:gd name="connsiteX300" fmla="*/ 6334079 w 9740963"/>
              <a:gd name="connsiteY300" fmla="*/ 3226790 h 6858000"/>
              <a:gd name="connsiteX301" fmla="*/ 6334079 w 9740963"/>
              <a:gd name="connsiteY301" fmla="*/ 3208313 h 6858000"/>
              <a:gd name="connsiteX302" fmla="*/ 6334079 w 9740963"/>
              <a:gd name="connsiteY302" fmla="*/ 3208312 h 6858000"/>
              <a:gd name="connsiteX303" fmla="*/ 6334079 w 9740963"/>
              <a:gd name="connsiteY303" fmla="*/ 1633642 h 6858000"/>
              <a:gd name="connsiteX304" fmla="*/ 6334079 w 9740963"/>
              <a:gd name="connsiteY304" fmla="*/ 1633641 h 6858000"/>
              <a:gd name="connsiteX305" fmla="*/ 6470269 w 9740963"/>
              <a:gd name="connsiteY305" fmla="*/ 1497450 h 6858000"/>
              <a:gd name="connsiteX306" fmla="*/ 6070733 w 9740963"/>
              <a:gd name="connsiteY306" fmla="*/ 1497450 h 6858000"/>
              <a:gd name="connsiteX307" fmla="*/ 6206923 w 9740963"/>
              <a:gd name="connsiteY307" fmla="*/ 1633641 h 6858000"/>
              <a:gd name="connsiteX308" fmla="*/ 6206923 w 9740963"/>
              <a:gd name="connsiteY308" fmla="*/ 1633642 h 6858000"/>
              <a:gd name="connsiteX309" fmla="*/ 6206923 w 9740963"/>
              <a:gd name="connsiteY309" fmla="*/ 3208312 h 6858000"/>
              <a:gd name="connsiteX310" fmla="*/ 6206923 w 9740963"/>
              <a:gd name="connsiteY310" fmla="*/ 3208313 h 6858000"/>
              <a:gd name="connsiteX311" fmla="*/ 6206923 w 9740963"/>
              <a:gd name="connsiteY311" fmla="*/ 3226790 h 6858000"/>
              <a:gd name="connsiteX312" fmla="*/ 6198085 w 9740963"/>
              <a:gd name="connsiteY312" fmla="*/ 3270562 h 6858000"/>
              <a:gd name="connsiteX313" fmla="*/ 6125609 w 9740963"/>
              <a:gd name="connsiteY313" fmla="*/ 3343039 h 6858000"/>
              <a:gd name="connsiteX314" fmla="*/ 6081841 w 9740963"/>
              <a:gd name="connsiteY314" fmla="*/ 3351875 h 6858000"/>
              <a:gd name="connsiteX315" fmla="*/ 6063355 w 9740963"/>
              <a:gd name="connsiteY315" fmla="*/ 3351876 h 6858000"/>
              <a:gd name="connsiteX316" fmla="*/ 4494492 w 9740963"/>
              <a:gd name="connsiteY316" fmla="*/ 3351876 h 6858000"/>
              <a:gd name="connsiteX317" fmla="*/ 4494492 w 9740963"/>
              <a:gd name="connsiteY317" fmla="*/ 3351875 h 6858000"/>
              <a:gd name="connsiteX318" fmla="*/ 4476005 w 9740963"/>
              <a:gd name="connsiteY318" fmla="*/ 3351875 h 6858000"/>
              <a:gd name="connsiteX319" fmla="*/ 4432239 w 9740963"/>
              <a:gd name="connsiteY319" fmla="*/ 3343039 h 6858000"/>
              <a:gd name="connsiteX320" fmla="*/ 4349059 w 9740963"/>
              <a:gd name="connsiteY320" fmla="*/ 3217551 h 6858000"/>
              <a:gd name="connsiteX321" fmla="*/ 4359762 w 9740963"/>
              <a:gd name="connsiteY321" fmla="*/ 3164541 h 6858000"/>
              <a:gd name="connsiteX322" fmla="*/ 4380915 w 9740963"/>
              <a:gd name="connsiteY322" fmla="*/ 3133166 h 6858000"/>
              <a:gd name="connsiteX323" fmla="*/ 4400864 w 9740963"/>
              <a:gd name="connsiteY323" fmla="*/ 3113216 h 6858000"/>
              <a:gd name="connsiteX324" fmla="*/ 4400867 w 9740963"/>
              <a:gd name="connsiteY324" fmla="*/ 3113215 h 6858000"/>
              <a:gd name="connsiteX325" fmla="*/ 5981521 w 9740963"/>
              <a:gd name="connsiteY325" fmla="*/ 1532560 h 6858000"/>
              <a:gd name="connsiteX326" fmla="*/ 6017721 w 9740963"/>
              <a:gd name="connsiteY326" fmla="*/ 1508153 h 6858000"/>
              <a:gd name="connsiteX327" fmla="*/ 6070733 w 9740963"/>
              <a:gd name="connsiteY327" fmla="*/ 1497450 h 6858000"/>
              <a:gd name="connsiteX328" fmla="*/ 3932943 w 9740963"/>
              <a:gd name="connsiteY328" fmla="*/ 1497450 h 6858000"/>
              <a:gd name="connsiteX329" fmla="*/ 5501803 w 9740963"/>
              <a:gd name="connsiteY329" fmla="*/ 1497450 h 6858000"/>
              <a:gd name="connsiteX330" fmla="*/ 5501803 w 9740963"/>
              <a:gd name="connsiteY330" fmla="*/ 1497451 h 6858000"/>
              <a:gd name="connsiteX331" fmla="*/ 5520290 w 9740963"/>
              <a:gd name="connsiteY331" fmla="*/ 1497451 h 6858000"/>
              <a:gd name="connsiteX332" fmla="*/ 5564058 w 9740963"/>
              <a:gd name="connsiteY332" fmla="*/ 1506287 h 6858000"/>
              <a:gd name="connsiteX333" fmla="*/ 5647237 w 9740963"/>
              <a:gd name="connsiteY333" fmla="*/ 1631775 h 6858000"/>
              <a:gd name="connsiteX334" fmla="*/ 5636534 w 9740963"/>
              <a:gd name="connsiteY334" fmla="*/ 1684787 h 6858000"/>
              <a:gd name="connsiteX335" fmla="*/ 5615382 w 9740963"/>
              <a:gd name="connsiteY335" fmla="*/ 1716161 h 6858000"/>
              <a:gd name="connsiteX336" fmla="*/ 5595432 w 9740963"/>
              <a:gd name="connsiteY336" fmla="*/ 1736111 h 6858000"/>
              <a:gd name="connsiteX337" fmla="*/ 5595430 w 9740963"/>
              <a:gd name="connsiteY337" fmla="*/ 1736112 h 6858000"/>
              <a:gd name="connsiteX338" fmla="*/ 4014775 w 9740963"/>
              <a:gd name="connsiteY338" fmla="*/ 3316766 h 6858000"/>
              <a:gd name="connsiteX339" fmla="*/ 3978575 w 9740963"/>
              <a:gd name="connsiteY339" fmla="*/ 3341173 h 6858000"/>
              <a:gd name="connsiteX340" fmla="*/ 3925563 w 9740963"/>
              <a:gd name="connsiteY340" fmla="*/ 3351876 h 6858000"/>
              <a:gd name="connsiteX341" fmla="*/ 3789371 w 9740963"/>
              <a:gd name="connsiteY341" fmla="*/ 3215686 h 6858000"/>
              <a:gd name="connsiteX342" fmla="*/ 3789371 w 9740963"/>
              <a:gd name="connsiteY342" fmla="*/ 3215685 h 6858000"/>
              <a:gd name="connsiteX343" fmla="*/ 3789372 w 9740963"/>
              <a:gd name="connsiteY343" fmla="*/ 1641014 h 6858000"/>
              <a:gd name="connsiteX344" fmla="*/ 3789374 w 9740963"/>
              <a:gd name="connsiteY344" fmla="*/ 1641015 h 6858000"/>
              <a:gd name="connsiteX345" fmla="*/ 3789374 w 9740963"/>
              <a:gd name="connsiteY345" fmla="*/ 1622536 h 6858000"/>
              <a:gd name="connsiteX346" fmla="*/ 3798210 w 9740963"/>
              <a:gd name="connsiteY346" fmla="*/ 1578764 h 6858000"/>
              <a:gd name="connsiteX347" fmla="*/ 3870687 w 9740963"/>
              <a:gd name="connsiteY347" fmla="*/ 1506287 h 6858000"/>
              <a:gd name="connsiteX348" fmla="*/ 3914456 w 9740963"/>
              <a:gd name="connsiteY348" fmla="*/ 1497451 h 6858000"/>
              <a:gd name="connsiteX349" fmla="*/ 1949785 w 9740963"/>
              <a:gd name="connsiteY349" fmla="*/ 1497450 h 6858000"/>
              <a:gd name="connsiteX350" fmla="*/ 3518648 w 9740963"/>
              <a:gd name="connsiteY350" fmla="*/ 1497450 h 6858000"/>
              <a:gd name="connsiteX351" fmla="*/ 3537134 w 9740963"/>
              <a:gd name="connsiteY351" fmla="*/ 1497451 h 6858000"/>
              <a:gd name="connsiteX352" fmla="*/ 3580902 w 9740963"/>
              <a:gd name="connsiteY352" fmla="*/ 1506287 h 6858000"/>
              <a:gd name="connsiteX353" fmla="*/ 3653380 w 9740963"/>
              <a:gd name="connsiteY353" fmla="*/ 1578764 h 6858000"/>
              <a:gd name="connsiteX354" fmla="*/ 3662216 w 9740963"/>
              <a:gd name="connsiteY354" fmla="*/ 1622536 h 6858000"/>
              <a:gd name="connsiteX355" fmla="*/ 3662216 w 9740963"/>
              <a:gd name="connsiteY355" fmla="*/ 1641015 h 6858000"/>
              <a:gd name="connsiteX356" fmla="*/ 3662218 w 9740963"/>
              <a:gd name="connsiteY356" fmla="*/ 1641014 h 6858000"/>
              <a:gd name="connsiteX357" fmla="*/ 3662217 w 9740963"/>
              <a:gd name="connsiteY357" fmla="*/ 3215685 h 6858000"/>
              <a:gd name="connsiteX358" fmla="*/ 3662217 w 9740963"/>
              <a:gd name="connsiteY358" fmla="*/ 3215686 h 6858000"/>
              <a:gd name="connsiteX359" fmla="*/ 3526026 w 9740963"/>
              <a:gd name="connsiteY359" fmla="*/ 3351876 h 6858000"/>
              <a:gd name="connsiteX360" fmla="*/ 3473014 w 9740963"/>
              <a:gd name="connsiteY360" fmla="*/ 3341173 h 6858000"/>
              <a:gd name="connsiteX361" fmla="*/ 3436813 w 9740963"/>
              <a:gd name="connsiteY361" fmla="*/ 3316766 h 6858000"/>
              <a:gd name="connsiteX362" fmla="*/ 1856157 w 9740963"/>
              <a:gd name="connsiteY362" fmla="*/ 1736112 h 6858000"/>
              <a:gd name="connsiteX363" fmla="*/ 1856156 w 9740963"/>
              <a:gd name="connsiteY363" fmla="*/ 1736111 h 6858000"/>
              <a:gd name="connsiteX364" fmla="*/ 1836206 w 9740963"/>
              <a:gd name="connsiteY364" fmla="*/ 1716161 h 6858000"/>
              <a:gd name="connsiteX365" fmla="*/ 1815054 w 9740963"/>
              <a:gd name="connsiteY365" fmla="*/ 1684787 h 6858000"/>
              <a:gd name="connsiteX366" fmla="*/ 1804351 w 9740963"/>
              <a:gd name="connsiteY366" fmla="*/ 1631775 h 6858000"/>
              <a:gd name="connsiteX367" fmla="*/ 1887531 w 9740963"/>
              <a:gd name="connsiteY367" fmla="*/ 1506287 h 6858000"/>
              <a:gd name="connsiteX368" fmla="*/ 1931299 w 9740963"/>
              <a:gd name="connsiteY368" fmla="*/ 1497451 h 6858000"/>
              <a:gd name="connsiteX369" fmla="*/ 1949785 w 9740963"/>
              <a:gd name="connsiteY369" fmla="*/ 1497451 h 6858000"/>
              <a:gd name="connsiteX370" fmla="*/ 9740963 w 9740963"/>
              <a:gd name="connsiteY370" fmla="*/ 853857 h 6858000"/>
              <a:gd name="connsiteX371" fmla="*/ 9740963 w 9740963"/>
              <a:gd name="connsiteY371" fmla="*/ 1343201 h 6858000"/>
              <a:gd name="connsiteX372" fmla="*/ 9583907 w 9740963"/>
              <a:gd name="connsiteY372" fmla="*/ 1343201 h 6858000"/>
              <a:gd name="connsiteX373" fmla="*/ 9583907 w 9740963"/>
              <a:gd name="connsiteY373" fmla="*/ 1343200 h 6858000"/>
              <a:gd name="connsiteX374" fmla="*/ 9565421 w 9740963"/>
              <a:gd name="connsiteY374" fmla="*/ 1343200 h 6858000"/>
              <a:gd name="connsiteX375" fmla="*/ 9521653 w 9740963"/>
              <a:gd name="connsiteY375" fmla="*/ 1334363 h 6858000"/>
              <a:gd name="connsiteX376" fmla="*/ 9438473 w 9740963"/>
              <a:gd name="connsiteY376" fmla="*/ 1208876 h 6858000"/>
              <a:gd name="connsiteX377" fmla="*/ 9449177 w 9740963"/>
              <a:gd name="connsiteY377" fmla="*/ 1155864 h 6858000"/>
              <a:gd name="connsiteX378" fmla="*/ 9470329 w 9740963"/>
              <a:gd name="connsiteY378" fmla="*/ 1124490 h 6858000"/>
              <a:gd name="connsiteX379" fmla="*/ 9490279 w 9740963"/>
              <a:gd name="connsiteY379" fmla="*/ 1104541 h 6858000"/>
              <a:gd name="connsiteX380" fmla="*/ 9490281 w 9740963"/>
              <a:gd name="connsiteY380" fmla="*/ 1104539 h 6858000"/>
              <a:gd name="connsiteX381" fmla="*/ 8878787 w 9740963"/>
              <a:gd name="connsiteY381" fmla="*/ 0 h 6858000"/>
              <a:gd name="connsiteX382" fmla="*/ 9740963 w 9740963"/>
              <a:gd name="connsiteY382" fmla="*/ 0 h 6858000"/>
              <a:gd name="connsiteX383" fmla="*/ 9740963 w 9740963"/>
              <a:gd name="connsiteY383" fmla="*/ 671317 h 6858000"/>
              <a:gd name="connsiteX384" fmla="*/ 9104189 w 9740963"/>
              <a:gd name="connsiteY384" fmla="*/ 1308091 h 6858000"/>
              <a:gd name="connsiteX385" fmla="*/ 9067989 w 9740963"/>
              <a:gd name="connsiteY385" fmla="*/ 1332498 h 6858000"/>
              <a:gd name="connsiteX386" fmla="*/ 9014977 w 9740963"/>
              <a:gd name="connsiteY386" fmla="*/ 1343201 h 6858000"/>
              <a:gd name="connsiteX387" fmla="*/ 8878787 w 9740963"/>
              <a:gd name="connsiteY387" fmla="*/ 1207011 h 6858000"/>
              <a:gd name="connsiteX388" fmla="*/ 8878787 w 9740963"/>
              <a:gd name="connsiteY388" fmla="*/ 1207009 h 6858000"/>
              <a:gd name="connsiteX389" fmla="*/ 7218138 w 9740963"/>
              <a:gd name="connsiteY389" fmla="*/ 0 h 6858000"/>
              <a:gd name="connsiteX390" fmla="*/ 8751631 w 9740963"/>
              <a:gd name="connsiteY390" fmla="*/ 0 h 6858000"/>
              <a:gd name="connsiteX391" fmla="*/ 8751631 w 9740963"/>
              <a:gd name="connsiteY391" fmla="*/ 1207009 h 6858000"/>
              <a:gd name="connsiteX392" fmla="*/ 8751631 w 9740963"/>
              <a:gd name="connsiteY392" fmla="*/ 1207011 h 6858000"/>
              <a:gd name="connsiteX393" fmla="*/ 8615441 w 9740963"/>
              <a:gd name="connsiteY393" fmla="*/ 1343201 h 6858000"/>
              <a:gd name="connsiteX394" fmla="*/ 8562429 w 9740963"/>
              <a:gd name="connsiteY394" fmla="*/ 1332498 h 6858000"/>
              <a:gd name="connsiteX395" fmla="*/ 8526229 w 9740963"/>
              <a:gd name="connsiteY395" fmla="*/ 1308091 h 6858000"/>
              <a:gd name="connsiteX396" fmla="*/ 6334079 w 9740963"/>
              <a:gd name="connsiteY396" fmla="*/ 0 h 6858000"/>
              <a:gd name="connsiteX397" fmla="*/ 7035598 w 9740963"/>
              <a:gd name="connsiteY397" fmla="*/ 0 h 6858000"/>
              <a:gd name="connsiteX398" fmla="*/ 8140137 w 9740963"/>
              <a:gd name="connsiteY398" fmla="*/ 1104539 h 6858000"/>
              <a:gd name="connsiteX399" fmla="*/ 8140139 w 9740963"/>
              <a:gd name="connsiteY399" fmla="*/ 1104541 h 6858000"/>
              <a:gd name="connsiteX400" fmla="*/ 8160089 w 9740963"/>
              <a:gd name="connsiteY400" fmla="*/ 1124490 h 6858000"/>
              <a:gd name="connsiteX401" fmla="*/ 8181241 w 9740963"/>
              <a:gd name="connsiteY401" fmla="*/ 1155864 h 6858000"/>
              <a:gd name="connsiteX402" fmla="*/ 8191945 w 9740963"/>
              <a:gd name="connsiteY402" fmla="*/ 1208876 h 6858000"/>
              <a:gd name="connsiteX403" fmla="*/ 8108765 w 9740963"/>
              <a:gd name="connsiteY403" fmla="*/ 1334363 h 6858000"/>
              <a:gd name="connsiteX404" fmla="*/ 8064997 w 9740963"/>
              <a:gd name="connsiteY404" fmla="*/ 1343200 h 6858000"/>
              <a:gd name="connsiteX405" fmla="*/ 8046511 w 9740963"/>
              <a:gd name="connsiteY405" fmla="*/ 1343200 h 6858000"/>
              <a:gd name="connsiteX406" fmla="*/ 8046511 w 9740963"/>
              <a:gd name="connsiteY406" fmla="*/ 1343201 h 6858000"/>
              <a:gd name="connsiteX407" fmla="*/ 6477647 w 9740963"/>
              <a:gd name="connsiteY407" fmla="*/ 1343201 h 6858000"/>
              <a:gd name="connsiteX408" fmla="*/ 6459161 w 9740963"/>
              <a:gd name="connsiteY408" fmla="*/ 1343200 h 6858000"/>
              <a:gd name="connsiteX409" fmla="*/ 6415393 w 9740963"/>
              <a:gd name="connsiteY409" fmla="*/ 1334363 h 6858000"/>
              <a:gd name="connsiteX410" fmla="*/ 6342917 w 9740963"/>
              <a:gd name="connsiteY410" fmla="*/ 1261887 h 6858000"/>
              <a:gd name="connsiteX411" fmla="*/ 6334079 w 9740963"/>
              <a:gd name="connsiteY411" fmla="*/ 1218115 h 6858000"/>
              <a:gd name="connsiteX412" fmla="*/ 6334079 w 9740963"/>
              <a:gd name="connsiteY412" fmla="*/ 1199637 h 6858000"/>
              <a:gd name="connsiteX413" fmla="*/ 6334079 w 9740963"/>
              <a:gd name="connsiteY413" fmla="*/ 1199636 h 6858000"/>
              <a:gd name="connsiteX414" fmla="*/ 5505405 w 9740963"/>
              <a:gd name="connsiteY414" fmla="*/ 0 h 6858000"/>
              <a:gd name="connsiteX415" fmla="*/ 6206923 w 9740963"/>
              <a:gd name="connsiteY415" fmla="*/ 0 h 6858000"/>
              <a:gd name="connsiteX416" fmla="*/ 6206923 w 9740963"/>
              <a:gd name="connsiteY416" fmla="*/ 1199636 h 6858000"/>
              <a:gd name="connsiteX417" fmla="*/ 6206923 w 9740963"/>
              <a:gd name="connsiteY417" fmla="*/ 1199637 h 6858000"/>
              <a:gd name="connsiteX418" fmla="*/ 6206923 w 9740963"/>
              <a:gd name="connsiteY418" fmla="*/ 1218115 h 6858000"/>
              <a:gd name="connsiteX419" fmla="*/ 6198085 w 9740963"/>
              <a:gd name="connsiteY419" fmla="*/ 1261887 h 6858000"/>
              <a:gd name="connsiteX420" fmla="*/ 6125609 w 9740963"/>
              <a:gd name="connsiteY420" fmla="*/ 1334363 h 6858000"/>
              <a:gd name="connsiteX421" fmla="*/ 6081841 w 9740963"/>
              <a:gd name="connsiteY421" fmla="*/ 1343200 h 6858000"/>
              <a:gd name="connsiteX422" fmla="*/ 6063355 w 9740963"/>
              <a:gd name="connsiteY422" fmla="*/ 1343201 h 6858000"/>
              <a:gd name="connsiteX423" fmla="*/ 4494493 w 9740963"/>
              <a:gd name="connsiteY423" fmla="*/ 1343201 h 6858000"/>
              <a:gd name="connsiteX424" fmla="*/ 4494493 w 9740963"/>
              <a:gd name="connsiteY424" fmla="*/ 1343200 h 6858000"/>
              <a:gd name="connsiteX425" fmla="*/ 4476006 w 9740963"/>
              <a:gd name="connsiteY425" fmla="*/ 1343200 h 6858000"/>
              <a:gd name="connsiteX426" fmla="*/ 4432239 w 9740963"/>
              <a:gd name="connsiteY426" fmla="*/ 1334363 h 6858000"/>
              <a:gd name="connsiteX427" fmla="*/ 4349060 w 9740963"/>
              <a:gd name="connsiteY427" fmla="*/ 1208876 h 6858000"/>
              <a:gd name="connsiteX428" fmla="*/ 4359762 w 9740963"/>
              <a:gd name="connsiteY428" fmla="*/ 1155864 h 6858000"/>
              <a:gd name="connsiteX429" fmla="*/ 4380915 w 9740963"/>
              <a:gd name="connsiteY429" fmla="*/ 1124490 h 6858000"/>
              <a:gd name="connsiteX430" fmla="*/ 4400865 w 9740963"/>
              <a:gd name="connsiteY430" fmla="*/ 1104541 h 6858000"/>
              <a:gd name="connsiteX431" fmla="*/ 4400867 w 9740963"/>
              <a:gd name="connsiteY431" fmla="*/ 1104539 h 6858000"/>
              <a:gd name="connsiteX432" fmla="*/ 3789372 w 9740963"/>
              <a:gd name="connsiteY432" fmla="*/ 0 h 6858000"/>
              <a:gd name="connsiteX433" fmla="*/ 5322865 w 9740963"/>
              <a:gd name="connsiteY433" fmla="*/ 0 h 6858000"/>
              <a:gd name="connsiteX434" fmla="*/ 4014775 w 9740963"/>
              <a:gd name="connsiteY434" fmla="*/ 1308091 h 6858000"/>
              <a:gd name="connsiteX435" fmla="*/ 3978576 w 9740963"/>
              <a:gd name="connsiteY435" fmla="*/ 1332498 h 6858000"/>
              <a:gd name="connsiteX436" fmla="*/ 3925564 w 9740963"/>
              <a:gd name="connsiteY436" fmla="*/ 1343201 h 6858000"/>
              <a:gd name="connsiteX437" fmla="*/ 3789372 w 9740963"/>
              <a:gd name="connsiteY437" fmla="*/ 1207011 h 6858000"/>
              <a:gd name="connsiteX438" fmla="*/ 3789372 w 9740963"/>
              <a:gd name="connsiteY438" fmla="*/ 1207009 h 6858000"/>
              <a:gd name="connsiteX439" fmla="*/ 2128722 w 9740963"/>
              <a:gd name="connsiteY439" fmla="*/ 0 h 6858000"/>
              <a:gd name="connsiteX440" fmla="*/ 3662218 w 9740963"/>
              <a:gd name="connsiteY440" fmla="*/ 0 h 6858000"/>
              <a:gd name="connsiteX441" fmla="*/ 3662218 w 9740963"/>
              <a:gd name="connsiteY441" fmla="*/ 1207009 h 6858000"/>
              <a:gd name="connsiteX442" fmla="*/ 3662218 w 9740963"/>
              <a:gd name="connsiteY442" fmla="*/ 1207011 h 6858000"/>
              <a:gd name="connsiteX443" fmla="*/ 3526026 w 9740963"/>
              <a:gd name="connsiteY443" fmla="*/ 1343201 h 6858000"/>
              <a:gd name="connsiteX444" fmla="*/ 3473015 w 9740963"/>
              <a:gd name="connsiteY444" fmla="*/ 1332498 h 6858000"/>
              <a:gd name="connsiteX445" fmla="*/ 3436814 w 9740963"/>
              <a:gd name="connsiteY445" fmla="*/ 1308091 h 6858000"/>
              <a:gd name="connsiteX446" fmla="*/ 1244667 w 9740963"/>
              <a:gd name="connsiteY446" fmla="*/ 0 h 6858000"/>
              <a:gd name="connsiteX447" fmla="*/ 1946188 w 9740963"/>
              <a:gd name="connsiteY447" fmla="*/ 0 h 6858000"/>
              <a:gd name="connsiteX448" fmla="*/ 3050724 w 9740963"/>
              <a:gd name="connsiteY448" fmla="*/ 1104539 h 6858000"/>
              <a:gd name="connsiteX449" fmla="*/ 3050726 w 9740963"/>
              <a:gd name="connsiteY449" fmla="*/ 1104541 h 6858000"/>
              <a:gd name="connsiteX450" fmla="*/ 3070675 w 9740963"/>
              <a:gd name="connsiteY450" fmla="*/ 1124490 h 6858000"/>
              <a:gd name="connsiteX451" fmla="*/ 3091828 w 9740963"/>
              <a:gd name="connsiteY451" fmla="*/ 1155864 h 6858000"/>
              <a:gd name="connsiteX452" fmla="*/ 3102530 w 9740963"/>
              <a:gd name="connsiteY452" fmla="*/ 1208876 h 6858000"/>
              <a:gd name="connsiteX453" fmla="*/ 3019351 w 9740963"/>
              <a:gd name="connsiteY453" fmla="*/ 1334363 h 6858000"/>
              <a:gd name="connsiteX454" fmla="*/ 2975584 w 9740963"/>
              <a:gd name="connsiteY454" fmla="*/ 1343200 h 6858000"/>
              <a:gd name="connsiteX455" fmla="*/ 2957097 w 9740963"/>
              <a:gd name="connsiteY455" fmla="*/ 1343200 h 6858000"/>
              <a:gd name="connsiteX456" fmla="*/ 2957097 w 9740963"/>
              <a:gd name="connsiteY456" fmla="*/ 1343201 h 6858000"/>
              <a:gd name="connsiteX457" fmla="*/ 1388238 w 9740963"/>
              <a:gd name="connsiteY457" fmla="*/ 1343201 h 6858000"/>
              <a:gd name="connsiteX458" fmla="*/ 1369751 w 9740963"/>
              <a:gd name="connsiteY458" fmla="*/ 1343200 h 6858000"/>
              <a:gd name="connsiteX459" fmla="*/ 1325983 w 9740963"/>
              <a:gd name="connsiteY459" fmla="*/ 1334363 h 6858000"/>
              <a:gd name="connsiteX460" fmla="*/ 1253507 w 9740963"/>
              <a:gd name="connsiteY460" fmla="*/ 1261887 h 6858000"/>
              <a:gd name="connsiteX461" fmla="*/ 1244670 w 9740963"/>
              <a:gd name="connsiteY461" fmla="*/ 1218115 h 6858000"/>
              <a:gd name="connsiteX462" fmla="*/ 1244670 w 9740963"/>
              <a:gd name="connsiteY462" fmla="*/ 1199636 h 6858000"/>
              <a:gd name="connsiteX463" fmla="*/ 1244667 w 9740963"/>
              <a:gd name="connsiteY463" fmla="*/ 1199637 h 6858000"/>
              <a:gd name="connsiteX464" fmla="*/ 13126 w 9740963"/>
              <a:gd name="connsiteY464" fmla="*/ 0 h 6858000"/>
              <a:gd name="connsiteX465" fmla="*/ 1128917 w 9740963"/>
              <a:gd name="connsiteY465" fmla="*/ 0 h 6858000"/>
              <a:gd name="connsiteX466" fmla="*/ 1128917 w 9740963"/>
              <a:gd name="connsiteY466" fmla="*/ 783502 h 6858000"/>
              <a:gd name="connsiteX467" fmla="*/ 1128917 w 9740963"/>
              <a:gd name="connsiteY467" fmla="*/ 801988 h 6858000"/>
              <a:gd name="connsiteX468" fmla="*/ 1120079 w 9740963"/>
              <a:gd name="connsiteY468" fmla="*/ 845757 h 6858000"/>
              <a:gd name="connsiteX469" fmla="*/ 994592 w 9740963"/>
              <a:gd name="connsiteY469" fmla="*/ 928936 h 6858000"/>
              <a:gd name="connsiteX470" fmla="*/ 941580 w 9740963"/>
              <a:gd name="connsiteY470" fmla="*/ 918233 h 6858000"/>
              <a:gd name="connsiteX471" fmla="*/ 910206 w 9740963"/>
              <a:gd name="connsiteY471" fmla="*/ 897080 h 6858000"/>
              <a:gd name="connsiteX472" fmla="*/ 890257 w 9740963"/>
              <a:gd name="connsiteY472" fmla="*/ 877131 h 6858000"/>
              <a:gd name="connsiteX473" fmla="*/ 890255 w 9740963"/>
              <a:gd name="connsiteY473" fmla="*/ 87712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Lst>
            <a:rect l="l" t="t" r="r" b="b"/>
            <a:pathLst>
              <a:path w="9740963" h="6858000">
                <a:moveTo>
                  <a:pt x="981316" y="5930787"/>
                </a:moveTo>
                <a:cubicBezTo>
                  <a:pt x="1056532" y="5930787"/>
                  <a:pt x="1117507" y="5991762"/>
                  <a:pt x="1117507" y="6066978"/>
                </a:cubicBezTo>
                <a:lnTo>
                  <a:pt x="1117507" y="6066979"/>
                </a:lnTo>
                <a:lnTo>
                  <a:pt x="1117507" y="6858000"/>
                </a:lnTo>
                <a:lnTo>
                  <a:pt x="0" y="6858000"/>
                </a:lnTo>
                <a:lnTo>
                  <a:pt x="892104" y="5965897"/>
                </a:lnTo>
                <a:lnTo>
                  <a:pt x="928305" y="5941490"/>
                </a:lnTo>
                <a:cubicBezTo>
                  <a:pt x="944598" y="5934598"/>
                  <a:pt x="962512" y="5930787"/>
                  <a:pt x="981316" y="5930787"/>
                </a:cubicBezTo>
                <a:close/>
                <a:moveTo>
                  <a:pt x="9583907" y="5514803"/>
                </a:moveTo>
                <a:lnTo>
                  <a:pt x="9740963" y="5514803"/>
                </a:lnTo>
                <a:lnTo>
                  <a:pt x="9740963" y="6004147"/>
                </a:lnTo>
                <a:lnTo>
                  <a:pt x="9490281" y="5753466"/>
                </a:lnTo>
                <a:cubicBezTo>
                  <a:pt x="9490281" y="5753465"/>
                  <a:pt x="9490279" y="5753465"/>
                  <a:pt x="9490279" y="5753464"/>
                </a:cubicBezTo>
                <a:lnTo>
                  <a:pt x="9470329" y="5733515"/>
                </a:lnTo>
                <a:lnTo>
                  <a:pt x="9449177" y="5702140"/>
                </a:lnTo>
                <a:cubicBezTo>
                  <a:pt x="9442285" y="5685846"/>
                  <a:pt x="9438473" y="5667933"/>
                  <a:pt x="9438473" y="5649129"/>
                </a:cubicBezTo>
                <a:cubicBezTo>
                  <a:pt x="9438473" y="5592716"/>
                  <a:pt x="9472773" y="5544315"/>
                  <a:pt x="9521653" y="5523641"/>
                </a:cubicBezTo>
                <a:lnTo>
                  <a:pt x="9565421" y="5514804"/>
                </a:lnTo>
                <a:lnTo>
                  <a:pt x="9583907" y="5514804"/>
                </a:lnTo>
                <a:close/>
                <a:moveTo>
                  <a:pt x="9014977" y="5514803"/>
                </a:moveTo>
                <a:cubicBezTo>
                  <a:pt x="9033781" y="5514803"/>
                  <a:pt x="9051695" y="5518614"/>
                  <a:pt x="9067989" y="5525506"/>
                </a:cubicBezTo>
                <a:lnTo>
                  <a:pt x="9104189" y="5549913"/>
                </a:lnTo>
                <a:lnTo>
                  <a:pt x="9740963" y="6186687"/>
                </a:lnTo>
                <a:lnTo>
                  <a:pt x="9740963" y="6858000"/>
                </a:lnTo>
                <a:lnTo>
                  <a:pt x="8878787" y="6858000"/>
                </a:lnTo>
                <a:lnTo>
                  <a:pt x="8878787" y="5650995"/>
                </a:lnTo>
                <a:lnTo>
                  <a:pt x="8878787" y="5650994"/>
                </a:lnTo>
                <a:cubicBezTo>
                  <a:pt x="8878787" y="5575778"/>
                  <a:pt x="8939761" y="5514803"/>
                  <a:pt x="9014977" y="5514803"/>
                </a:cubicBezTo>
                <a:close/>
                <a:moveTo>
                  <a:pt x="8615441" y="5514803"/>
                </a:moveTo>
                <a:cubicBezTo>
                  <a:pt x="8690657" y="5514803"/>
                  <a:pt x="8751631" y="5575778"/>
                  <a:pt x="8751631" y="5650994"/>
                </a:cubicBezTo>
                <a:lnTo>
                  <a:pt x="8751631" y="5650995"/>
                </a:lnTo>
                <a:lnTo>
                  <a:pt x="8751631" y="6858000"/>
                </a:lnTo>
                <a:lnTo>
                  <a:pt x="7218142" y="6858000"/>
                </a:lnTo>
                <a:lnTo>
                  <a:pt x="8526229" y="5549913"/>
                </a:lnTo>
                <a:lnTo>
                  <a:pt x="8562429" y="5525506"/>
                </a:lnTo>
                <a:cubicBezTo>
                  <a:pt x="8578723" y="5518614"/>
                  <a:pt x="8596637" y="5514803"/>
                  <a:pt x="8615441" y="5514803"/>
                </a:cubicBezTo>
                <a:close/>
                <a:moveTo>
                  <a:pt x="6477647" y="5514803"/>
                </a:moveTo>
                <a:lnTo>
                  <a:pt x="8046511" y="5514803"/>
                </a:lnTo>
                <a:lnTo>
                  <a:pt x="8046511" y="5514804"/>
                </a:lnTo>
                <a:lnTo>
                  <a:pt x="8064997" y="5514804"/>
                </a:lnTo>
                <a:lnTo>
                  <a:pt x="8108765" y="5523641"/>
                </a:lnTo>
                <a:cubicBezTo>
                  <a:pt x="8157647" y="5544315"/>
                  <a:pt x="8191945" y="5592716"/>
                  <a:pt x="8191945" y="5649129"/>
                </a:cubicBezTo>
                <a:cubicBezTo>
                  <a:pt x="8191945" y="5667933"/>
                  <a:pt x="8188133" y="5685846"/>
                  <a:pt x="8181241" y="5702140"/>
                </a:cubicBezTo>
                <a:lnTo>
                  <a:pt x="8160089" y="5733515"/>
                </a:lnTo>
                <a:lnTo>
                  <a:pt x="8140139" y="5753464"/>
                </a:lnTo>
                <a:cubicBezTo>
                  <a:pt x="8140139" y="5753465"/>
                  <a:pt x="8140139" y="5753465"/>
                  <a:pt x="8140137" y="5753466"/>
                </a:cubicBezTo>
                <a:lnTo>
                  <a:pt x="7035602" y="6858000"/>
                </a:lnTo>
                <a:lnTo>
                  <a:pt x="6334079" y="6858000"/>
                </a:lnTo>
                <a:lnTo>
                  <a:pt x="6334079" y="5658368"/>
                </a:lnTo>
                <a:lnTo>
                  <a:pt x="6334079" y="5658367"/>
                </a:lnTo>
                <a:lnTo>
                  <a:pt x="6334079" y="5639889"/>
                </a:lnTo>
                <a:lnTo>
                  <a:pt x="6342917" y="5596117"/>
                </a:lnTo>
                <a:cubicBezTo>
                  <a:pt x="6356699" y="5563529"/>
                  <a:pt x="6382805" y="5537423"/>
                  <a:pt x="6415393" y="5523641"/>
                </a:cubicBezTo>
                <a:lnTo>
                  <a:pt x="6459161" y="5514804"/>
                </a:lnTo>
                <a:close/>
                <a:moveTo>
                  <a:pt x="4494492" y="5514803"/>
                </a:moveTo>
                <a:lnTo>
                  <a:pt x="6063355" y="5514803"/>
                </a:lnTo>
                <a:lnTo>
                  <a:pt x="6081841" y="5514804"/>
                </a:lnTo>
                <a:lnTo>
                  <a:pt x="6125609" y="5523641"/>
                </a:lnTo>
                <a:cubicBezTo>
                  <a:pt x="6158197" y="5537423"/>
                  <a:pt x="6184303" y="5563529"/>
                  <a:pt x="6198085" y="5596117"/>
                </a:cubicBezTo>
                <a:lnTo>
                  <a:pt x="6206923" y="5639889"/>
                </a:lnTo>
                <a:lnTo>
                  <a:pt x="6206923" y="5658367"/>
                </a:lnTo>
                <a:lnTo>
                  <a:pt x="6206923" y="5658368"/>
                </a:lnTo>
                <a:lnTo>
                  <a:pt x="6206923" y="6858000"/>
                </a:lnTo>
                <a:lnTo>
                  <a:pt x="5505401" y="6858000"/>
                </a:lnTo>
                <a:lnTo>
                  <a:pt x="4400866" y="5753466"/>
                </a:lnTo>
                <a:cubicBezTo>
                  <a:pt x="4400864" y="5753465"/>
                  <a:pt x="4400864" y="5753465"/>
                  <a:pt x="4400863" y="5753464"/>
                </a:cubicBezTo>
                <a:lnTo>
                  <a:pt x="4380913" y="5733515"/>
                </a:lnTo>
                <a:lnTo>
                  <a:pt x="4359762" y="5702140"/>
                </a:lnTo>
                <a:cubicBezTo>
                  <a:pt x="4352869" y="5685846"/>
                  <a:pt x="4349058" y="5667933"/>
                  <a:pt x="4349058" y="5649129"/>
                </a:cubicBezTo>
                <a:cubicBezTo>
                  <a:pt x="4349058" y="5592716"/>
                  <a:pt x="4383357" y="5544315"/>
                  <a:pt x="4432238" y="5523641"/>
                </a:cubicBezTo>
                <a:lnTo>
                  <a:pt x="4476005" y="5514804"/>
                </a:lnTo>
                <a:lnTo>
                  <a:pt x="4494492" y="5514804"/>
                </a:lnTo>
                <a:close/>
                <a:moveTo>
                  <a:pt x="3925562" y="5514803"/>
                </a:moveTo>
                <a:cubicBezTo>
                  <a:pt x="3944366" y="5514803"/>
                  <a:pt x="3962279" y="5518614"/>
                  <a:pt x="3978574" y="5525506"/>
                </a:cubicBezTo>
                <a:lnTo>
                  <a:pt x="4014774" y="5549913"/>
                </a:lnTo>
                <a:lnTo>
                  <a:pt x="5322861" y="6858000"/>
                </a:lnTo>
                <a:lnTo>
                  <a:pt x="3789371" y="6858000"/>
                </a:lnTo>
                <a:lnTo>
                  <a:pt x="3789371" y="5650995"/>
                </a:lnTo>
                <a:lnTo>
                  <a:pt x="3789371" y="5650994"/>
                </a:lnTo>
                <a:cubicBezTo>
                  <a:pt x="3789371" y="5575778"/>
                  <a:pt x="3850345" y="5514803"/>
                  <a:pt x="3925562" y="5514803"/>
                </a:cubicBezTo>
                <a:close/>
                <a:moveTo>
                  <a:pt x="3526025" y="5514803"/>
                </a:moveTo>
                <a:cubicBezTo>
                  <a:pt x="3601241" y="5514803"/>
                  <a:pt x="3662216" y="5575778"/>
                  <a:pt x="3662216" y="5650994"/>
                </a:cubicBezTo>
                <a:lnTo>
                  <a:pt x="3662216" y="5650995"/>
                </a:lnTo>
                <a:lnTo>
                  <a:pt x="3662216" y="6858000"/>
                </a:lnTo>
                <a:lnTo>
                  <a:pt x="2128725" y="6858000"/>
                </a:lnTo>
                <a:lnTo>
                  <a:pt x="3436813" y="5549913"/>
                </a:lnTo>
                <a:lnTo>
                  <a:pt x="3473013" y="5525506"/>
                </a:lnTo>
                <a:cubicBezTo>
                  <a:pt x="3489307" y="5518614"/>
                  <a:pt x="3507221" y="5514803"/>
                  <a:pt x="3526025" y="5514803"/>
                </a:cubicBezTo>
                <a:close/>
                <a:moveTo>
                  <a:pt x="1388232" y="5514803"/>
                </a:moveTo>
                <a:lnTo>
                  <a:pt x="2957095" y="5514803"/>
                </a:lnTo>
                <a:lnTo>
                  <a:pt x="2957095" y="5514804"/>
                </a:lnTo>
                <a:lnTo>
                  <a:pt x="2975581" y="5514804"/>
                </a:lnTo>
                <a:lnTo>
                  <a:pt x="3019349" y="5523641"/>
                </a:lnTo>
                <a:cubicBezTo>
                  <a:pt x="3068230" y="5544315"/>
                  <a:pt x="3102529" y="5592716"/>
                  <a:pt x="3102529" y="5649129"/>
                </a:cubicBezTo>
                <a:cubicBezTo>
                  <a:pt x="3102529" y="5667933"/>
                  <a:pt x="3098718" y="5685846"/>
                  <a:pt x="3091826" y="5702140"/>
                </a:cubicBezTo>
                <a:lnTo>
                  <a:pt x="3070674" y="5733515"/>
                </a:lnTo>
                <a:lnTo>
                  <a:pt x="3050724" y="5753464"/>
                </a:lnTo>
                <a:cubicBezTo>
                  <a:pt x="3050723" y="5753465"/>
                  <a:pt x="3050722" y="5753465"/>
                  <a:pt x="3050722" y="5753466"/>
                </a:cubicBezTo>
                <a:lnTo>
                  <a:pt x="1946187" y="6858000"/>
                </a:lnTo>
                <a:lnTo>
                  <a:pt x="1244663" y="6858000"/>
                </a:lnTo>
                <a:lnTo>
                  <a:pt x="1244663" y="5658367"/>
                </a:lnTo>
                <a:lnTo>
                  <a:pt x="1244664" y="5658368"/>
                </a:lnTo>
                <a:lnTo>
                  <a:pt x="1244664" y="5639889"/>
                </a:lnTo>
                <a:lnTo>
                  <a:pt x="1253501" y="5596117"/>
                </a:lnTo>
                <a:cubicBezTo>
                  <a:pt x="1267285" y="5563529"/>
                  <a:pt x="1293391" y="5537423"/>
                  <a:pt x="1325978" y="5523641"/>
                </a:cubicBezTo>
                <a:lnTo>
                  <a:pt x="1369746" y="5514804"/>
                </a:lnTo>
                <a:close/>
                <a:moveTo>
                  <a:pt x="9583907" y="3506125"/>
                </a:moveTo>
                <a:lnTo>
                  <a:pt x="9740963" y="3506125"/>
                </a:lnTo>
                <a:lnTo>
                  <a:pt x="9740963" y="3995469"/>
                </a:lnTo>
                <a:lnTo>
                  <a:pt x="9490281" y="3744788"/>
                </a:lnTo>
                <a:cubicBezTo>
                  <a:pt x="9490281" y="3744787"/>
                  <a:pt x="9490279" y="3744787"/>
                  <a:pt x="9490279" y="3744786"/>
                </a:cubicBezTo>
                <a:lnTo>
                  <a:pt x="9470329" y="3724837"/>
                </a:lnTo>
                <a:lnTo>
                  <a:pt x="9449177" y="3693462"/>
                </a:lnTo>
                <a:cubicBezTo>
                  <a:pt x="9442285" y="3677168"/>
                  <a:pt x="9438473" y="3659255"/>
                  <a:pt x="9438473" y="3640451"/>
                </a:cubicBezTo>
                <a:cubicBezTo>
                  <a:pt x="9438473" y="3584038"/>
                  <a:pt x="9472773" y="3535637"/>
                  <a:pt x="9521653" y="3514963"/>
                </a:cubicBezTo>
                <a:lnTo>
                  <a:pt x="9565421" y="3506126"/>
                </a:lnTo>
                <a:lnTo>
                  <a:pt x="9583907" y="3506126"/>
                </a:lnTo>
                <a:close/>
                <a:moveTo>
                  <a:pt x="9014977" y="3506125"/>
                </a:moveTo>
                <a:cubicBezTo>
                  <a:pt x="9033781" y="3506125"/>
                  <a:pt x="9051695" y="3509936"/>
                  <a:pt x="9067989" y="3516828"/>
                </a:cubicBezTo>
                <a:lnTo>
                  <a:pt x="9104189" y="3541235"/>
                </a:lnTo>
                <a:lnTo>
                  <a:pt x="9740963" y="4178008"/>
                </a:lnTo>
                <a:lnTo>
                  <a:pt x="9740963" y="5360553"/>
                </a:lnTo>
                <a:lnTo>
                  <a:pt x="9022355" y="5360553"/>
                </a:lnTo>
                <a:lnTo>
                  <a:pt x="9003869" y="5360552"/>
                </a:lnTo>
                <a:lnTo>
                  <a:pt x="8960101" y="5351716"/>
                </a:lnTo>
                <a:cubicBezTo>
                  <a:pt x="8927513" y="5337933"/>
                  <a:pt x="8901407" y="5311827"/>
                  <a:pt x="8887625" y="5279239"/>
                </a:cubicBezTo>
                <a:lnTo>
                  <a:pt x="8878787" y="5235467"/>
                </a:lnTo>
                <a:lnTo>
                  <a:pt x="8878787" y="5216989"/>
                </a:lnTo>
                <a:lnTo>
                  <a:pt x="8878787" y="5216988"/>
                </a:lnTo>
                <a:lnTo>
                  <a:pt x="8878787" y="3642317"/>
                </a:lnTo>
                <a:lnTo>
                  <a:pt x="8878787" y="3642316"/>
                </a:lnTo>
                <a:cubicBezTo>
                  <a:pt x="8878787" y="3567100"/>
                  <a:pt x="8939761" y="3506125"/>
                  <a:pt x="9014977" y="3506125"/>
                </a:cubicBezTo>
                <a:close/>
                <a:moveTo>
                  <a:pt x="8615441" y="3506125"/>
                </a:moveTo>
                <a:cubicBezTo>
                  <a:pt x="8690657" y="3506125"/>
                  <a:pt x="8751631" y="3567100"/>
                  <a:pt x="8751631" y="3642316"/>
                </a:cubicBezTo>
                <a:lnTo>
                  <a:pt x="8751631" y="3642317"/>
                </a:lnTo>
                <a:lnTo>
                  <a:pt x="8751631" y="5216988"/>
                </a:lnTo>
                <a:lnTo>
                  <a:pt x="8751631" y="5216989"/>
                </a:lnTo>
                <a:lnTo>
                  <a:pt x="8751631" y="5235467"/>
                </a:lnTo>
                <a:lnTo>
                  <a:pt x="8742793" y="5279239"/>
                </a:lnTo>
                <a:cubicBezTo>
                  <a:pt x="8729011" y="5311827"/>
                  <a:pt x="8702905" y="5337933"/>
                  <a:pt x="8670317" y="5351716"/>
                </a:cubicBezTo>
                <a:lnTo>
                  <a:pt x="8626549" y="5360552"/>
                </a:lnTo>
                <a:lnTo>
                  <a:pt x="8608063" y="5360553"/>
                </a:lnTo>
                <a:lnTo>
                  <a:pt x="7039199" y="5360553"/>
                </a:lnTo>
                <a:lnTo>
                  <a:pt x="7039199" y="5360552"/>
                </a:lnTo>
                <a:lnTo>
                  <a:pt x="7020713" y="5360552"/>
                </a:lnTo>
                <a:lnTo>
                  <a:pt x="6976945" y="5351716"/>
                </a:lnTo>
                <a:cubicBezTo>
                  <a:pt x="6928065" y="5331042"/>
                  <a:pt x="6893765" y="5282640"/>
                  <a:pt x="6893765" y="5226228"/>
                </a:cubicBezTo>
                <a:cubicBezTo>
                  <a:pt x="6893765" y="5207424"/>
                  <a:pt x="6897577" y="5189510"/>
                  <a:pt x="6904469" y="5173216"/>
                </a:cubicBezTo>
                <a:lnTo>
                  <a:pt x="6925621" y="5141842"/>
                </a:lnTo>
                <a:lnTo>
                  <a:pt x="6945571" y="5121892"/>
                </a:lnTo>
                <a:cubicBezTo>
                  <a:pt x="6945571" y="5121892"/>
                  <a:pt x="6945573" y="5121892"/>
                  <a:pt x="6945573" y="5121891"/>
                </a:cubicBezTo>
                <a:lnTo>
                  <a:pt x="8526229" y="3541235"/>
                </a:lnTo>
                <a:lnTo>
                  <a:pt x="8562429" y="3516828"/>
                </a:lnTo>
                <a:cubicBezTo>
                  <a:pt x="8578723" y="3509936"/>
                  <a:pt x="8596637" y="3506125"/>
                  <a:pt x="8615441" y="3506125"/>
                </a:cubicBezTo>
                <a:close/>
                <a:moveTo>
                  <a:pt x="6477647" y="3506125"/>
                </a:moveTo>
                <a:lnTo>
                  <a:pt x="8046511" y="3506125"/>
                </a:lnTo>
                <a:lnTo>
                  <a:pt x="8046511" y="3506126"/>
                </a:lnTo>
                <a:lnTo>
                  <a:pt x="8064997" y="3506126"/>
                </a:lnTo>
                <a:lnTo>
                  <a:pt x="8108765" y="3514963"/>
                </a:lnTo>
                <a:cubicBezTo>
                  <a:pt x="8157647" y="3535637"/>
                  <a:pt x="8191945" y="3584038"/>
                  <a:pt x="8191945" y="3640451"/>
                </a:cubicBezTo>
                <a:cubicBezTo>
                  <a:pt x="8191945" y="3659255"/>
                  <a:pt x="8188133" y="3677168"/>
                  <a:pt x="8181241" y="3693462"/>
                </a:cubicBezTo>
                <a:lnTo>
                  <a:pt x="8160089" y="3724837"/>
                </a:lnTo>
                <a:lnTo>
                  <a:pt x="8140139" y="3744786"/>
                </a:lnTo>
                <a:cubicBezTo>
                  <a:pt x="8140139" y="3744787"/>
                  <a:pt x="8140139" y="3744787"/>
                  <a:pt x="8140137" y="3744788"/>
                </a:cubicBezTo>
                <a:lnTo>
                  <a:pt x="6559481" y="5325443"/>
                </a:lnTo>
                <a:lnTo>
                  <a:pt x="6523281" y="5349850"/>
                </a:lnTo>
                <a:cubicBezTo>
                  <a:pt x="6506987" y="5356742"/>
                  <a:pt x="6489073" y="5360553"/>
                  <a:pt x="6470269" y="5360553"/>
                </a:cubicBezTo>
                <a:cubicBezTo>
                  <a:pt x="6395053" y="5360553"/>
                  <a:pt x="6334079" y="5299579"/>
                  <a:pt x="6334079" y="5224362"/>
                </a:cubicBezTo>
                <a:lnTo>
                  <a:pt x="6334079" y="3649690"/>
                </a:lnTo>
                <a:lnTo>
                  <a:pt x="6334079" y="3649689"/>
                </a:lnTo>
                <a:lnTo>
                  <a:pt x="6334079" y="3631211"/>
                </a:lnTo>
                <a:lnTo>
                  <a:pt x="6342917" y="3587439"/>
                </a:lnTo>
                <a:cubicBezTo>
                  <a:pt x="6356699" y="3554851"/>
                  <a:pt x="6382805" y="3528745"/>
                  <a:pt x="6415393" y="3514963"/>
                </a:cubicBezTo>
                <a:lnTo>
                  <a:pt x="6459161" y="3506126"/>
                </a:lnTo>
                <a:close/>
                <a:moveTo>
                  <a:pt x="4494492" y="3506125"/>
                </a:moveTo>
                <a:lnTo>
                  <a:pt x="6063355" y="3506125"/>
                </a:lnTo>
                <a:lnTo>
                  <a:pt x="6081841" y="3506126"/>
                </a:lnTo>
                <a:lnTo>
                  <a:pt x="6125609" y="3514963"/>
                </a:lnTo>
                <a:cubicBezTo>
                  <a:pt x="6158197" y="3528745"/>
                  <a:pt x="6184303" y="3554851"/>
                  <a:pt x="6198085" y="3587439"/>
                </a:cubicBezTo>
                <a:lnTo>
                  <a:pt x="6206923" y="3631211"/>
                </a:lnTo>
                <a:lnTo>
                  <a:pt x="6206923" y="3649689"/>
                </a:lnTo>
                <a:lnTo>
                  <a:pt x="6206923" y="3649690"/>
                </a:lnTo>
                <a:lnTo>
                  <a:pt x="6206923" y="5224362"/>
                </a:lnTo>
                <a:cubicBezTo>
                  <a:pt x="6206923" y="5299579"/>
                  <a:pt x="6145949" y="5360553"/>
                  <a:pt x="6070733" y="5360553"/>
                </a:cubicBezTo>
                <a:cubicBezTo>
                  <a:pt x="6051929" y="5360553"/>
                  <a:pt x="6034015" y="5356742"/>
                  <a:pt x="6017721" y="5349850"/>
                </a:cubicBezTo>
                <a:lnTo>
                  <a:pt x="5981521" y="5325443"/>
                </a:lnTo>
                <a:lnTo>
                  <a:pt x="4400866" y="3744788"/>
                </a:lnTo>
                <a:cubicBezTo>
                  <a:pt x="4400864" y="3744787"/>
                  <a:pt x="4400864" y="3744787"/>
                  <a:pt x="4400864" y="3744786"/>
                </a:cubicBezTo>
                <a:lnTo>
                  <a:pt x="4380913" y="3724837"/>
                </a:lnTo>
                <a:lnTo>
                  <a:pt x="4359762" y="3693462"/>
                </a:lnTo>
                <a:cubicBezTo>
                  <a:pt x="4352870" y="3677168"/>
                  <a:pt x="4349058" y="3659255"/>
                  <a:pt x="4349058" y="3640451"/>
                </a:cubicBezTo>
                <a:cubicBezTo>
                  <a:pt x="4349058" y="3584038"/>
                  <a:pt x="4383357" y="3535637"/>
                  <a:pt x="4432239" y="3514963"/>
                </a:cubicBezTo>
                <a:lnTo>
                  <a:pt x="4476005" y="3506126"/>
                </a:lnTo>
                <a:lnTo>
                  <a:pt x="4494492" y="3506126"/>
                </a:lnTo>
                <a:close/>
                <a:moveTo>
                  <a:pt x="3925563" y="3506125"/>
                </a:moveTo>
                <a:cubicBezTo>
                  <a:pt x="3944366" y="3506125"/>
                  <a:pt x="3962280" y="3509936"/>
                  <a:pt x="3978574" y="3516828"/>
                </a:cubicBezTo>
                <a:lnTo>
                  <a:pt x="4014774" y="3541235"/>
                </a:lnTo>
                <a:lnTo>
                  <a:pt x="5595430" y="5121891"/>
                </a:lnTo>
                <a:cubicBezTo>
                  <a:pt x="5595430" y="5121892"/>
                  <a:pt x="5595431" y="5121892"/>
                  <a:pt x="5595432" y="5121892"/>
                </a:cubicBezTo>
                <a:lnTo>
                  <a:pt x="5615381" y="5141842"/>
                </a:lnTo>
                <a:lnTo>
                  <a:pt x="5636534" y="5173216"/>
                </a:lnTo>
                <a:cubicBezTo>
                  <a:pt x="5643426" y="5189510"/>
                  <a:pt x="5647237" y="5207424"/>
                  <a:pt x="5647237" y="5226228"/>
                </a:cubicBezTo>
                <a:cubicBezTo>
                  <a:pt x="5647237" y="5282640"/>
                  <a:pt x="5612938" y="5331042"/>
                  <a:pt x="5564057" y="5351716"/>
                </a:cubicBezTo>
                <a:lnTo>
                  <a:pt x="5520289" y="5360552"/>
                </a:lnTo>
                <a:lnTo>
                  <a:pt x="5501803" y="5360552"/>
                </a:lnTo>
                <a:lnTo>
                  <a:pt x="5501803" y="5360553"/>
                </a:lnTo>
                <a:lnTo>
                  <a:pt x="3932940" y="5360553"/>
                </a:lnTo>
                <a:lnTo>
                  <a:pt x="3914454" y="5360552"/>
                </a:lnTo>
                <a:lnTo>
                  <a:pt x="3870687" y="5351716"/>
                </a:lnTo>
                <a:cubicBezTo>
                  <a:pt x="3838098" y="5337933"/>
                  <a:pt x="3811993" y="5311827"/>
                  <a:pt x="3798210" y="5279239"/>
                </a:cubicBezTo>
                <a:lnTo>
                  <a:pt x="3789372" y="5235467"/>
                </a:lnTo>
                <a:lnTo>
                  <a:pt x="3789372" y="5216988"/>
                </a:lnTo>
                <a:lnTo>
                  <a:pt x="3789371" y="5216989"/>
                </a:lnTo>
                <a:lnTo>
                  <a:pt x="3789371" y="3642317"/>
                </a:lnTo>
                <a:lnTo>
                  <a:pt x="3789371" y="3642316"/>
                </a:lnTo>
                <a:cubicBezTo>
                  <a:pt x="3789371" y="3567100"/>
                  <a:pt x="3850346" y="3506125"/>
                  <a:pt x="3925563" y="3506125"/>
                </a:cubicBezTo>
                <a:close/>
                <a:moveTo>
                  <a:pt x="3526024" y="3506125"/>
                </a:moveTo>
                <a:cubicBezTo>
                  <a:pt x="3601241" y="3506125"/>
                  <a:pt x="3662215" y="3567100"/>
                  <a:pt x="3662215" y="3642316"/>
                </a:cubicBezTo>
                <a:lnTo>
                  <a:pt x="3662215" y="3642317"/>
                </a:lnTo>
                <a:lnTo>
                  <a:pt x="3662215" y="5216988"/>
                </a:lnTo>
                <a:lnTo>
                  <a:pt x="3662215" y="5216989"/>
                </a:lnTo>
                <a:lnTo>
                  <a:pt x="3662215" y="5235467"/>
                </a:lnTo>
                <a:lnTo>
                  <a:pt x="3653377" y="5279239"/>
                </a:lnTo>
                <a:cubicBezTo>
                  <a:pt x="3639594" y="5311827"/>
                  <a:pt x="3613489" y="5337933"/>
                  <a:pt x="3580900" y="5351716"/>
                </a:cubicBezTo>
                <a:lnTo>
                  <a:pt x="3537132" y="5360552"/>
                </a:lnTo>
                <a:lnTo>
                  <a:pt x="3518647" y="5360553"/>
                </a:lnTo>
                <a:lnTo>
                  <a:pt x="1949784" y="5360553"/>
                </a:lnTo>
                <a:lnTo>
                  <a:pt x="1949784" y="5360552"/>
                </a:lnTo>
                <a:lnTo>
                  <a:pt x="1931296" y="5360552"/>
                </a:lnTo>
                <a:lnTo>
                  <a:pt x="1887528" y="5351716"/>
                </a:lnTo>
                <a:cubicBezTo>
                  <a:pt x="1838647" y="5331042"/>
                  <a:pt x="1804350" y="5282640"/>
                  <a:pt x="1804350" y="5226228"/>
                </a:cubicBezTo>
                <a:cubicBezTo>
                  <a:pt x="1804350" y="5207424"/>
                  <a:pt x="1808160" y="5189510"/>
                  <a:pt x="1815052" y="5173216"/>
                </a:cubicBezTo>
                <a:lnTo>
                  <a:pt x="1836205" y="5141842"/>
                </a:lnTo>
                <a:lnTo>
                  <a:pt x="1856154" y="5121892"/>
                </a:lnTo>
                <a:cubicBezTo>
                  <a:pt x="1856156" y="5121892"/>
                  <a:pt x="1856156" y="5121892"/>
                  <a:pt x="1856156" y="5121891"/>
                </a:cubicBezTo>
                <a:lnTo>
                  <a:pt x="3436812" y="3541235"/>
                </a:lnTo>
                <a:lnTo>
                  <a:pt x="3473013" y="3516828"/>
                </a:lnTo>
                <a:cubicBezTo>
                  <a:pt x="3489307" y="3509936"/>
                  <a:pt x="3507220" y="3506125"/>
                  <a:pt x="3526024" y="3506125"/>
                </a:cubicBezTo>
                <a:close/>
                <a:moveTo>
                  <a:pt x="9740963" y="2862533"/>
                </a:moveTo>
                <a:lnTo>
                  <a:pt x="9740963" y="3351876"/>
                </a:lnTo>
                <a:lnTo>
                  <a:pt x="9583907" y="3351876"/>
                </a:lnTo>
                <a:lnTo>
                  <a:pt x="9583907" y="3351875"/>
                </a:lnTo>
                <a:lnTo>
                  <a:pt x="9565421" y="3351875"/>
                </a:lnTo>
                <a:lnTo>
                  <a:pt x="9521653" y="3343039"/>
                </a:lnTo>
                <a:cubicBezTo>
                  <a:pt x="9472773" y="3322365"/>
                  <a:pt x="9438473" y="3273963"/>
                  <a:pt x="9438473" y="3217551"/>
                </a:cubicBezTo>
                <a:cubicBezTo>
                  <a:pt x="9438473" y="3198748"/>
                  <a:pt x="9442285" y="3180834"/>
                  <a:pt x="9449177" y="3164541"/>
                </a:cubicBezTo>
                <a:lnTo>
                  <a:pt x="9470329" y="3133166"/>
                </a:lnTo>
                <a:lnTo>
                  <a:pt x="9490279" y="3113216"/>
                </a:lnTo>
                <a:cubicBezTo>
                  <a:pt x="9490279" y="3113216"/>
                  <a:pt x="9490281" y="3113216"/>
                  <a:pt x="9490281" y="3113215"/>
                </a:cubicBezTo>
                <a:close/>
                <a:moveTo>
                  <a:pt x="9022355" y="1497450"/>
                </a:moveTo>
                <a:lnTo>
                  <a:pt x="9740963" y="1497450"/>
                </a:lnTo>
                <a:lnTo>
                  <a:pt x="9740963" y="2679993"/>
                </a:lnTo>
                <a:lnTo>
                  <a:pt x="9104189" y="3316766"/>
                </a:lnTo>
                <a:lnTo>
                  <a:pt x="9067989" y="3341173"/>
                </a:lnTo>
                <a:cubicBezTo>
                  <a:pt x="9051695" y="3348066"/>
                  <a:pt x="9033781" y="3351876"/>
                  <a:pt x="9014977" y="3351876"/>
                </a:cubicBezTo>
                <a:cubicBezTo>
                  <a:pt x="8939761" y="3351876"/>
                  <a:pt x="8878787" y="3290902"/>
                  <a:pt x="8878787" y="3215686"/>
                </a:cubicBezTo>
                <a:lnTo>
                  <a:pt x="8878787" y="3215685"/>
                </a:lnTo>
                <a:lnTo>
                  <a:pt x="8878787" y="1641015"/>
                </a:lnTo>
                <a:lnTo>
                  <a:pt x="8878787" y="1641014"/>
                </a:lnTo>
                <a:lnTo>
                  <a:pt x="8878787" y="1622536"/>
                </a:lnTo>
                <a:lnTo>
                  <a:pt x="8887625" y="1578764"/>
                </a:lnTo>
                <a:cubicBezTo>
                  <a:pt x="8901407" y="1546176"/>
                  <a:pt x="8927513" y="1520070"/>
                  <a:pt x="8960101" y="1506287"/>
                </a:cubicBezTo>
                <a:lnTo>
                  <a:pt x="9003869" y="1497451"/>
                </a:lnTo>
                <a:close/>
                <a:moveTo>
                  <a:pt x="7039199" y="1497450"/>
                </a:moveTo>
                <a:lnTo>
                  <a:pt x="8608063" y="1497450"/>
                </a:lnTo>
                <a:lnTo>
                  <a:pt x="8626549" y="1497451"/>
                </a:lnTo>
                <a:lnTo>
                  <a:pt x="8670317" y="1506287"/>
                </a:lnTo>
                <a:cubicBezTo>
                  <a:pt x="8702905" y="1520070"/>
                  <a:pt x="8729011" y="1546176"/>
                  <a:pt x="8742793" y="1578764"/>
                </a:cubicBezTo>
                <a:lnTo>
                  <a:pt x="8751631" y="1622536"/>
                </a:lnTo>
                <a:lnTo>
                  <a:pt x="8751631" y="1641014"/>
                </a:lnTo>
                <a:lnTo>
                  <a:pt x="8751631" y="1641015"/>
                </a:lnTo>
                <a:lnTo>
                  <a:pt x="8751631" y="3215685"/>
                </a:lnTo>
                <a:lnTo>
                  <a:pt x="8751631" y="3215686"/>
                </a:lnTo>
                <a:cubicBezTo>
                  <a:pt x="8751631" y="3290902"/>
                  <a:pt x="8690657" y="3351876"/>
                  <a:pt x="8615441" y="3351876"/>
                </a:cubicBezTo>
                <a:cubicBezTo>
                  <a:pt x="8596637" y="3351876"/>
                  <a:pt x="8578723" y="3348066"/>
                  <a:pt x="8562429" y="3341173"/>
                </a:cubicBezTo>
                <a:lnTo>
                  <a:pt x="8526229" y="3316766"/>
                </a:lnTo>
                <a:lnTo>
                  <a:pt x="6945573" y="1736112"/>
                </a:lnTo>
                <a:cubicBezTo>
                  <a:pt x="6945573" y="1736111"/>
                  <a:pt x="6945571" y="1736111"/>
                  <a:pt x="6945571" y="1736111"/>
                </a:cubicBezTo>
                <a:lnTo>
                  <a:pt x="6925621" y="1716161"/>
                </a:lnTo>
                <a:lnTo>
                  <a:pt x="6904469" y="1684787"/>
                </a:lnTo>
                <a:cubicBezTo>
                  <a:pt x="6897577" y="1668493"/>
                  <a:pt x="6893765" y="1650579"/>
                  <a:pt x="6893765" y="1631775"/>
                </a:cubicBezTo>
                <a:cubicBezTo>
                  <a:pt x="6893765" y="1575363"/>
                  <a:pt x="6928065" y="1526961"/>
                  <a:pt x="6976945" y="1506287"/>
                </a:cubicBezTo>
                <a:lnTo>
                  <a:pt x="7020713" y="1497451"/>
                </a:lnTo>
                <a:lnTo>
                  <a:pt x="7039199" y="1497451"/>
                </a:lnTo>
                <a:close/>
                <a:moveTo>
                  <a:pt x="6470269" y="1497450"/>
                </a:moveTo>
                <a:cubicBezTo>
                  <a:pt x="6489073" y="1497450"/>
                  <a:pt x="6506987" y="1501261"/>
                  <a:pt x="6523281" y="1508153"/>
                </a:cubicBezTo>
                <a:lnTo>
                  <a:pt x="6559481" y="1532560"/>
                </a:lnTo>
                <a:lnTo>
                  <a:pt x="8140137" y="3113215"/>
                </a:lnTo>
                <a:cubicBezTo>
                  <a:pt x="8140139" y="3113216"/>
                  <a:pt x="8140139" y="3113216"/>
                  <a:pt x="8140139" y="3113216"/>
                </a:cubicBezTo>
                <a:lnTo>
                  <a:pt x="8160089" y="3133166"/>
                </a:lnTo>
                <a:lnTo>
                  <a:pt x="8181241" y="3164541"/>
                </a:lnTo>
                <a:cubicBezTo>
                  <a:pt x="8188133" y="3180834"/>
                  <a:pt x="8191945" y="3198748"/>
                  <a:pt x="8191945" y="3217551"/>
                </a:cubicBezTo>
                <a:cubicBezTo>
                  <a:pt x="8191945" y="3273963"/>
                  <a:pt x="8157647" y="3322365"/>
                  <a:pt x="8108765" y="3343039"/>
                </a:cubicBezTo>
                <a:lnTo>
                  <a:pt x="8064997" y="3351875"/>
                </a:lnTo>
                <a:lnTo>
                  <a:pt x="8046511" y="3351875"/>
                </a:lnTo>
                <a:lnTo>
                  <a:pt x="8046511" y="3351876"/>
                </a:lnTo>
                <a:lnTo>
                  <a:pt x="6477647" y="3351876"/>
                </a:lnTo>
                <a:lnTo>
                  <a:pt x="6459161" y="3351875"/>
                </a:lnTo>
                <a:lnTo>
                  <a:pt x="6415393" y="3343039"/>
                </a:lnTo>
                <a:cubicBezTo>
                  <a:pt x="6382805" y="3329256"/>
                  <a:pt x="6356699" y="3303150"/>
                  <a:pt x="6342917" y="3270562"/>
                </a:cubicBezTo>
                <a:lnTo>
                  <a:pt x="6334079" y="3226790"/>
                </a:lnTo>
                <a:lnTo>
                  <a:pt x="6334079" y="3208313"/>
                </a:lnTo>
                <a:lnTo>
                  <a:pt x="6334079" y="3208312"/>
                </a:lnTo>
                <a:lnTo>
                  <a:pt x="6334079" y="1633642"/>
                </a:lnTo>
                <a:lnTo>
                  <a:pt x="6334079" y="1633641"/>
                </a:lnTo>
                <a:cubicBezTo>
                  <a:pt x="6334079" y="1558425"/>
                  <a:pt x="6395053" y="1497450"/>
                  <a:pt x="6470269" y="1497450"/>
                </a:cubicBezTo>
                <a:close/>
                <a:moveTo>
                  <a:pt x="6070733" y="1497450"/>
                </a:moveTo>
                <a:cubicBezTo>
                  <a:pt x="6145949" y="1497450"/>
                  <a:pt x="6206923" y="1558425"/>
                  <a:pt x="6206923" y="1633641"/>
                </a:cubicBezTo>
                <a:lnTo>
                  <a:pt x="6206923" y="1633642"/>
                </a:lnTo>
                <a:lnTo>
                  <a:pt x="6206923" y="3208312"/>
                </a:lnTo>
                <a:lnTo>
                  <a:pt x="6206923" y="3208313"/>
                </a:lnTo>
                <a:lnTo>
                  <a:pt x="6206923" y="3226790"/>
                </a:lnTo>
                <a:lnTo>
                  <a:pt x="6198085" y="3270562"/>
                </a:lnTo>
                <a:cubicBezTo>
                  <a:pt x="6184303" y="3303150"/>
                  <a:pt x="6158197" y="3329256"/>
                  <a:pt x="6125609" y="3343039"/>
                </a:cubicBezTo>
                <a:lnTo>
                  <a:pt x="6081841" y="3351875"/>
                </a:lnTo>
                <a:lnTo>
                  <a:pt x="6063355" y="3351876"/>
                </a:lnTo>
                <a:lnTo>
                  <a:pt x="4494492" y="3351876"/>
                </a:lnTo>
                <a:lnTo>
                  <a:pt x="4494492" y="3351875"/>
                </a:lnTo>
                <a:lnTo>
                  <a:pt x="4476005" y="3351875"/>
                </a:lnTo>
                <a:lnTo>
                  <a:pt x="4432239" y="3343039"/>
                </a:lnTo>
                <a:cubicBezTo>
                  <a:pt x="4383357" y="3322365"/>
                  <a:pt x="4349059" y="3273963"/>
                  <a:pt x="4349059" y="3217551"/>
                </a:cubicBezTo>
                <a:cubicBezTo>
                  <a:pt x="4349059" y="3198748"/>
                  <a:pt x="4352870" y="3180834"/>
                  <a:pt x="4359762" y="3164541"/>
                </a:cubicBezTo>
                <a:lnTo>
                  <a:pt x="4380915" y="3133166"/>
                </a:lnTo>
                <a:lnTo>
                  <a:pt x="4400864" y="3113216"/>
                </a:lnTo>
                <a:cubicBezTo>
                  <a:pt x="4400864" y="3113216"/>
                  <a:pt x="4400864" y="3113216"/>
                  <a:pt x="4400867" y="3113215"/>
                </a:cubicBezTo>
                <a:lnTo>
                  <a:pt x="5981521" y="1532560"/>
                </a:lnTo>
                <a:lnTo>
                  <a:pt x="6017721" y="1508153"/>
                </a:lnTo>
                <a:cubicBezTo>
                  <a:pt x="6034015" y="1501261"/>
                  <a:pt x="6051929" y="1497450"/>
                  <a:pt x="6070733" y="1497450"/>
                </a:cubicBezTo>
                <a:close/>
                <a:moveTo>
                  <a:pt x="3932943" y="1497450"/>
                </a:moveTo>
                <a:lnTo>
                  <a:pt x="5501803" y="1497450"/>
                </a:lnTo>
                <a:lnTo>
                  <a:pt x="5501803" y="1497451"/>
                </a:lnTo>
                <a:lnTo>
                  <a:pt x="5520290" y="1497451"/>
                </a:lnTo>
                <a:lnTo>
                  <a:pt x="5564058" y="1506287"/>
                </a:lnTo>
                <a:cubicBezTo>
                  <a:pt x="5612939" y="1526961"/>
                  <a:pt x="5647237" y="1575363"/>
                  <a:pt x="5647237" y="1631775"/>
                </a:cubicBezTo>
                <a:cubicBezTo>
                  <a:pt x="5647237" y="1650579"/>
                  <a:pt x="5643426" y="1668493"/>
                  <a:pt x="5636534" y="1684787"/>
                </a:cubicBezTo>
                <a:lnTo>
                  <a:pt x="5615382" y="1716161"/>
                </a:lnTo>
                <a:lnTo>
                  <a:pt x="5595432" y="1736111"/>
                </a:lnTo>
                <a:cubicBezTo>
                  <a:pt x="5595431" y="1736111"/>
                  <a:pt x="5595431" y="1736111"/>
                  <a:pt x="5595430" y="1736112"/>
                </a:cubicBezTo>
                <a:lnTo>
                  <a:pt x="4014775" y="3316766"/>
                </a:lnTo>
                <a:lnTo>
                  <a:pt x="3978575" y="3341173"/>
                </a:lnTo>
                <a:cubicBezTo>
                  <a:pt x="3962281" y="3348066"/>
                  <a:pt x="3944366" y="3351876"/>
                  <a:pt x="3925563" y="3351876"/>
                </a:cubicBezTo>
                <a:cubicBezTo>
                  <a:pt x="3850347" y="3351876"/>
                  <a:pt x="3789371" y="3290902"/>
                  <a:pt x="3789371" y="3215686"/>
                </a:cubicBezTo>
                <a:lnTo>
                  <a:pt x="3789371" y="3215685"/>
                </a:lnTo>
                <a:lnTo>
                  <a:pt x="3789372" y="1641014"/>
                </a:lnTo>
                <a:lnTo>
                  <a:pt x="3789374" y="1641015"/>
                </a:lnTo>
                <a:lnTo>
                  <a:pt x="3789374" y="1622536"/>
                </a:lnTo>
                <a:lnTo>
                  <a:pt x="3798210" y="1578764"/>
                </a:lnTo>
                <a:cubicBezTo>
                  <a:pt x="3811994" y="1546176"/>
                  <a:pt x="3838100" y="1520070"/>
                  <a:pt x="3870687" y="1506287"/>
                </a:cubicBezTo>
                <a:lnTo>
                  <a:pt x="3914456" y="1497451"/>
                </a:lnTo>
                <a:close/>
                <a:moveTo>
                  <a:pt x="1949785" y="1497450"/>
                </a:moveTo>
                <a:lnTo>
                  <a:pt x="3518648" y="1497450"/>
                </a:lnTo>
                <a:lnTo>
                  <a:pt x="3537134" y="1497451"/>
                </a:lnTo>
                <a:lnTo>
                  <a:pt x="3580902" y="1506287"/>
                </a:lnTo>
                <a:cubicBezTo>
                  <a:pt x="3613490" y="1520070"/>
                  <a:pt x="3639597" y="1546176"/>
                  <a:pt x="3653380" y="1578764"/>
                </a:cubicBezTo>
                <a:lnTo>
                  <a:pt x="3662216" y="1622536"/>
                </a:lnTo>
                <a:lnTo>
                  <a:pt x="3662216" y="1641015"/>
                </a:lnTo>
                <a:lnTo>
                  <a:pt x="3662218" y="1641014"/>
                </a:lnTo>
                <a:lnTo>
                  <a:pt x="3662217" y="3215685"/>
                </a:lnTo>
                <a:lnTo>
                  <a:pt x="3662217" y="3215686"/>
                </a:lnTo>
                <a:cubicBezTo>
                  <a:pt x="3662217" y="3290902"/>
                  <a:pt x="3601242" y="3351876"/>
                  <a:pt x="3526026" y="3351876"/>
                </a:cubicBezTo>
                <a:cubicBezTo>
                  <a:pt x="3507221" y="3351876"/>
                  <a:pt x="3489308" y="3348066"/>
                  <a:pt x="3473014" y="3341173"/>
                </a:cubicBezTo>
                <a:lnTo>
                  <a:pt x="3436813" y="3316766"/>
                </a:lnTo>
                <a:lnTo>
                  <a:pt x="1856157" y="1736112"/>
                </a:lnTo>
                <a:cubicBezTo>
                  <a:pt x="1856157" y="1736111"/>
                  <a:pt x="1856156" y="1736111"/>
                  <a:pt x="1856156" y="1736111"/>
                </a:cubicBezTo>
                <a:lnTo>
                  <a:pt x="1836206" y="1716161"/>
                </a:lnTo>
                <a:lnTo>
                  <a:pt x="1815054" y="1684787"/>
                </a:lnTo>
                <a:cubicBezTo>
                  <a:pt x="1808163" y="1668493"/>
                  <a:pt x="1804351" y="1650579"/>
                  <a:pt x="1804351" y="1631775"/>
                </a:cubicBezTo>
                <a:cubicBezTo>
                  <a:pt x="1804351" y="1575363"/>
                  <a:pt x="1838650" y="1526961"/>
                  <a:pt x="1887531" y="1506287"/>
                </a:cubicBezTo>
                <a:lnTo>
                  <a:pt x="1931299" y="1497451"/>
                </a:lnTo>
                <a:lnTo>
                  <a:pt x="1949785" y="1497451"/>
                </a:lnTo>
                <a:close/>
                <a:moveTo>
                  <a:pt x="9740963" y="853857"/>
                </a:moveTo>
                <a:lnTo>
                  <a:pt x="9740963" y="1343201"/>
                </a:lnTo>
                <a:lnTo>
                  <a:pt x="9583907" y="1343201"/>
                </a:lnTo>
                <a:lnTo>
                  <a:pt x="9583907" y="1343200"/>
                </a:lnTo>
                <a:lnTo>
                  <a:pt x="9565421" y="1343200"/>
                </a:lnTo>
                <a:lnTo>
                  <a:pt x="9521653" y="1334363"/>
                </a:lnTo>
                <a:cubicBezTo>
                  <a:pt x="9472773" y="1313689"/>
                  <a:pt x="9438473" y="1265288"/>
                  <a:pt x="9438473" y="1208876"/>
                </a:cubicBezTo>
                <a:cubicBezTo>
                  <a:pt x="9438473" y="1190072"/>
                  <a:pt x="9442285" y="1172158"/>
                  <a:pt x="9449177" y="1155864"/>
                </a:cubicBezTo>
                <a:lnTo>
                  <a:pt x="9470329" y="1124490"/>
                </a:lnTo>
                <a:lnTo>
                  <a:pt x="9490279" y="1104541"/>
                </a:lnTo>
                <a:cubicBezTo>
                  <a:pt x="9490279" y="1104540"/>
                  <a:pt x="9490281" y="1104540"/>
                  <a:pt x="9490281" y="1104539"/>
                </a:cubicBezTo>
                <a:close/>
                <a:moveTo>
                  <a:pt x="8878787" y="0"/>
                </a:moveTo>
                <a:lnTo>
                  <a:pt x="9740963" y="0"/>
                </a:lnTo>
                <a:lnTo>
                  <a:pt x="9740963" y="671317"/>
                </a:lnTo>
                <a:lnTo>
                  <a:pt x="9104189" y="1308091"/>
                </a:lnTo>
                <a:lnTo>
                  <a:pt x="9067989" y="1332498"/>
                </a:lnTo>
                <a:cubicBezTo>
                  <a:pt x="9051695" y="1339390"/>
                  <a:pt x="9033781" y="1343201"/>
                  <a:pt x="9014977" y="1343201"/>
                </a:cubicBezTo>
                <a:cubicBezTo>
                  <a:pt x="8939761" y="1343201"/>
                  <a:pt x="8878787" y="1282226"/>
                  <a:pt x="8878787" y="1207011"/>
                </a:cubicBezTo>
                <a:lnTo>
                  <a:pt x="8878787" y="1207009"/>
                </a:lnTo>
                <a:close/>
                <a:moveTo>
                  <a:pt x="7218138" y="0"/>
                </a:moveTo>
                <a:lnTo>
                  <a:pt x="8751631" y="0"/>
                </a:lnTo>
                <a:lnTo>
                  <a:pt x="8751631" y="1207009"/>
                </a:lnTo>
                <a:lnTo>
                  <a:pt x="8751631" y="1207011"/>
                </a:lnTo>
                <a:cubicBezTo>
                  <a:pt x="8751631" y="1282226"/>
                  <a:pt x="8690657" y="1343201"/>
                  <a:pt x="8615441" y="1343201"/>
                </a:cubicBezTo>
                <a:cubicBezTo>
                  <a:pt x="8596637" y="1343201"/>
                  <a:pt x="8578723" y="1339390"/>
                  <a:pt x="8562429" y="1332498"/>
                </a:cubicBezTo>
                <a:lnTo>
                  <a:pt x="8526229" y="1308091"/>
                </a:lnTo>
                <a:close/>
                <a:moveTo>
                  <a:pt x="6334079" y="0"/>
                </a:moveTo>
                <a:lnTo>
                  <a:pt x="7035598" y="0"/>
                </a:lnTo>
                <a:lnTo>
                  <a:pt x="8140137" y="1104539"/>
                </a:lnTo>
                <a:cubicBezTo>
                  <a:pt x="8140139" y="1104540"/>
                  <a:pt x="8140139" y="1104540"/>
                  <a:pt x="8140139" y="1104541"/>
                </a:cubicBezTo>
                <a:lnTo>
                  <a:pt x="8160089" y="1124490"/>
                </a:lnTo>
                <a:lnTo>
                  <a:pt x="8181241" y="1155864"/>
                </a:lnTo>
                <a:cubicBezTo>
                  <a:pt x="8188133" y="1172158"/>
                  <a:pt x="8191945" y="1190072"/>
                  <a:pt x="8191945" y="1208876"/>
                </a:cubicBezTo>
                <a:cubicBezTo>
                  <a:pt x="8191945" y="1265288"/>
                  <a:pt x="8157647" y="1313689"/>
                  <a:pt x="8108765" y="1334363"/>
                </a:cubicBezTo>
                <a:lnTo>
                  <a:pt x="8064997" y="1343200"/>
                </a:lnTo>
                <a:lnTo>
                  <a:pt x="8046511" y="1343200"/>
                </a:lnTo>
                <a:lnTo>
                  <a:pt x="8046511" y="1343201"/>
                </a:lnTo>
                <a:lnTo>
                  <a:pt x="6477647" y="1343201"/>
                </a:lnTo>
                <a:lnTo>
                  <a:pt x="6459161" y="1343200"/>
                </a:lnTo>
                <a:lnTo>
                  <a:pt x="6415393" y="1334363"/>
                </a:lnTo>
                <a:cubicBezTo>
                  <a:pt x="6382805" y="1320581"/>
                  <a:pt x="6356699" y="1294475"/>
                  <a:pt x="6342917" y="1261887"/>
                </a:cubicBezTo>
                <a:lnTo>
                  <a:pt x="6334079" y="1218115"/>
                </a:lnTo>
                <a:lnTo>
                  <a:pt x="6334079" y="1199637"/>
                </a:lnTo>
                <a:lnTo>
                  <a:pt x="6334079" y="1199636"/>
                </a:lnTo>
                <a:close/>
                <a:moveTo>
                  <a:pt x="5505405" y="0"/>
                </a:moveTo>
                <a:lnTo>
                  <a:pt x="6206923" y="0"/>
                </a:lnTo>
                <a:lnTo>
                  <a:pt x="6206923" y="1199636"/>
                </a:lnTo>
                <a:lnTo>
                  <a:pt x="6206923" y="1199637"/>
                </a:lnTo>
                <a:lnTo>
                  <a:pt x="6206923" y="1218115"/>
                </a:lnTo>
                <a:lnTo>
                  <a:pt x="6198085" y="1261887"/>
                </a:lnTo>
                <a:cubicBezTo>
                  <a:pt x="6184303" y="1294475"/>
                  <a:pt x="6158197" y="1320581"/>
                  <a:pt x="6125609" y="1334363"/>
                </a:cubicBezTo>
                <a:lnTo>
                  <a:pt x="6081841" y="1343200"/>
                </a:lnTo>
                <a:lnTo>
                  <a:pt x="6063355" y="1343201"/>
                </a:lnTo>
                <a:lnTo>
                  <a:pt x="4494493" y="1343201"/>
                </a:lnTo>
                <a:lnTo>
                  <a:pt x="4494493" y="1343200"/>
                </a:lnTo>
                <a:lnTo>
                  <a:pt x="4476006" y="1343200"/>
                </a:lnTo>
                <a:lnTo>
                  <a:pt x="4432239" y="1334363"/>
                </a:lnTo>
                <a:cubicBezTo>
                  <a:pt x="4383357" y="1313689"/>
                  <a:pt x="4349060" y="1265288"/>
                  <a:pt x="4349060" y="1208876"/>
                </a:cubicBezTo>
                <a:cubicBezTo>
                  <a:pt x="4349060" y="1190072"/>
                  <a:pt x="4352871" y="1172158"/>
                  <a:pt x="4359762" y="1155864"/>
                </a:cubicBezTo>
                <a:lnTo>
                  <a:pt x="4380915" y="1124490"/>
                </a:lnTo>
                <a:lnTo>
                  <a:pt x="4400865" y="1104541"/>
                </a:lnTo>
                <a:cubicBezTo>
                  <a:pt x="4400865" y="1104540"/>
                  <a:pt x="4400865" y="1104540"/>
                  <a:pt x="4400867" y="1104539"/>
                </a:cubicBezTo>
                <a:close/>
                <a:moveTo>
                  <a:pt x="3789372" y="0"/>
                </a:moveTo>
                <a:lnTo>
                  <a:pt x="5322865" y="0"/>
                </a:lnTo>
                <a:lnTo>
                  <a:pt x="4014775" y="1308091"/>
                </a:lnTo>
                <a:lnTo>
                  <a:pt x="3978576" y="1332498"/>
                </a:lnTo>
                <a:cubicBezTo>
                  <a:pt x="3962281" y="1339390"/>
                  <a:pt x="3944367" y="1343201"/>
                  <a:pt x="3925564" y="1343201"/>
                </a:cubicBezTo>
                <a:cubicBezTo>
                  <a:pt x="3850347" y="1343201"/>
                  <a:pt x="3789372" y="1282226"/>
                  <a:pt x="3789372" y="1207011"/>
                </a:cubicBezTo>
                <a:lnTo>
                  <a:pt x="3789372" y="1207009"/>
                </a:lnTo>
                <a:close/>
                <a:moveTo>
                  <a:pt x="2128722" y="0"/>
                </a:moveTo>
                <a:lnTo>
                  <a:pt x="3662218" y="0"/>
                </a:lnTo>
                <a:lnTo>
                  <a:pt x="3662218" y="1207009"/>
                </a:lnTo>
                <a:lnTo>
                  <a:pt x="3662218" y="1207011"/>
                </a:lnTo>
                <a:cubicBezTo>
                  <a:pt x="3662218" y="1282226"/>
                  <a:pt x="3601243" y="1343201"/>
                  <a:pt x="3526026" y="1343201"/>
                </a:cubicBezTo>
                <a:cubicBezTo>
                  <a:pt x="3507222" y="1343201"/>
                  <a:pt x="3489309" y="1339390"/>
                  <a:pt x="3473015" y="1332498"/>
                </a:cubicBezTo>
                <a:lnTo>
                  <a:pt x="3436814" y="1308091"/>
                </a:lnTo>
                <a:close/>
                <a:moveTo>
                  <a:pt x="1244667" y="0"/>
                </a:moveTo>
                <a:lnTo>
                  <a:pt x="1946188" y="0"/>
                </a:lnTo>
                <a:lnTo>
                  <a:pt x="3050724" y="1104539"/>
                </a:lnTo>
                <a:cubicBezTo>
                  <a:pt x="3050724" y="1104540"/>
                  <a:pt x="3050724" y="1104540"/>
                  <a:pt x="3050726" y="1104541"/>
                </a:cubicBezTo>
                <a:lnTo>
                  <a:pt x="3070675" y="1124490"/>
                </a:lnTo>
                <a:lnTo>
                  <a:pt x="3091828" y="1155864"/>
                </a:lnTo>
                <a:cubicBezTo>
                  <a:pt x="3098719" y="1172158"/>
                  <a:pt x="3102530" y="1190072"/>
                  <a:pt x="3102530" y="1208876"/>
                </a:cubicBezTo>
                <a:cubicBezTo>
                  <a:pt x="3102530" y="1265288"/>
                  <a:pt x="3068231" y="1313689"/>
                  <a:pt x="3019351" y="1334363"/>
                </a:cubicBezTo>
                <a:lnTo>
                  <a:pt x="2975584" y="1343200"/>
                </a:lnTo>
                <a:lnTo>
                  <a:pt x="2957097" y="1343200"/>
                </a:lnTo>
                <a:lnTo>
                  <a:pt x="2957097" y="1343201"/>
                </a:lnTo>
                <a:lnTo>
                  <a:pt x="1388238" y="1343201"/>
                </a:lnTo>
                <a:lnTo>
                  <a:pt x="1369751" y="1343200"/>
                </a:lnTo>
                <a:lnTo>
                  <a:pt x="1325983" y="1334363"/>
                </a:lnTo>
                <a:cubicBezTo>
                  <a:pt x="1293396" y="1320581"/>
                  <a:pt x="1267290" y="1294475"/>
                  <a:pt x="1253507" y="1261887"/>
                </a:cubicBezTo>
                <a:lnTo>
                  <a:pt x="1244670" y="1218115"/>
                </a:lnTo>
                <a:lnTo>
                  <a:pt x="1244670" y="1199636"/>
                </a:lnTo>
                <a:lnTo>
                  <a:pt x="1244667" y="1199637"/>
                </a:lnTo>
                <a:close/>
                <a:moveTo>
                  <a:pt x="13126" y="0"/>
                </a:moveTo>
                <a:lnTo>
                  <a:pt x="1128917" y="0"/>
                </a:lnTo>
                <a:lnTo>
                  <a:pt x="1128917" y="783502"/>
                </a:lnTo>
                <a:lnTo>
                  <a:pt x="1128917" y="801988"/>
                </a:lnTo>
                <a:lnTo>
                  <a:pt x="1120079" y="845757"/>
                </a:lnTo>
                <a:cubicBezTo>
                  <a:pt x="1099407" y="894638"/>
                  <a:pt x="1051005" y="928936"/>
                  <a:pt x="994592" y="928936"/>
                </a:cubicBezTo>
                <a:cubicBezTo>
                  <a:pt x="975788" y="928936"/>
                  <a:pt x="957874" y="925125"/>
                  <a:pt x="941580" y="918233"/>
                </a:cubicBezTo>
                <a:lnTo>
                  <a:pt x="910206" y="897080"/>
                </a:lnTo>
                <a:lnTo>
                  <a:pt x="890257" y="877131"/>
                </a:lnTo>
                <a:cubicBezTo>
                  <a:pt x="890257" y="877130"/>
                  <a:pt x="890257" y="877130"/>
                  <a:pt x="890255" y="877129"/>
                </a:cubicBezTo>
                <a:close/>
              </a:path>
            </a:pathLst>
          </a:custGeom>
        </p:spPr>
        <p:txBody>
          <a:bodyPr wrap="square" anchor="t">
            <a:noAutofit/>
          </a:bodyPr>
          <a:lstStyle>
            <a:lvl1pPr marL="0" indent="0">
              <a:buNone/>
              <a:defRPr/>
            </a:lvl1pPr>
          </a:lstStyle>
          <a:p>
            <a:endParaRPr lang="en-US" dirty="0"/>
          </a:p>
        </p:txBody>
      </p:sp>
      <p:cxnSp>
        <p:nvCxnSpPr>
          <p:cNvPr id="5" name="Straight Connector 4">
            <a:extLst>
              <a:ext uri="{FF2B5EF4-FFF2-40B4-BE49-F238E27FC236}">
                <a16:creationId xmlns:a16="http://schemas.microsoft.com/office/drawing/2014/main" id="{A680A1CF-F68C-45F0-A5BC-1B5F31BA0E32}"/>
              </a:ext>
            </a:extLst>
          </p:cNvPr>
          <p:cNvCxnSpPr/>
          <p:nvPr userDrawn="1"/>
        </p:nvCxnSpPr>
        <p:spPr>
          <a:xfrm>
            <a:off x="492968" y="293672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9BCDB7-0D00-4F03-A598-19299CFEE44F}"/>
              </a:ext>
            </a:extLst>
          </p:cNvPr>
          <p:cNvSpPr>
            <a:spLocks noGrp="1"/>
          </p:cNvSpPr>
          <p:nvPr>
            <p:ph type="body" sz="quarter" idx="11" hasCustomPrompt="1"/>
          </p:nvPr>
        </p:nvSpPr>
        <p:spPr>
          <a:xfrm>
            <a:off x="390331" y="2558338"/>
            <a:ext cx="3657600" cy="274320"/>
          </a:xfrm>
          <a:prstGeom prst="rect">
            <a:avLst/>
          </a:prstGeom>
        </p:spPr>
        <p:txBody>
          <a:bodyPr anchor="ctr"/>
          <a:lstStyle>
            <a:lvl1pPr marL="0" indent="0" algn="l">
              <a:lnSpc>
                <a:spcPct val="100000"/>
              </a:lnSpc>
              <a:spcBef>
                <a:spcPts val="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7" name="Text Placeholder 4">
            <a:extLst>
              <a:ext uri="{FF2B5EF4-FFF2-40B4-BE49-F238E27FC236}">
                <a16:creationId xmlns:a16="http://schemas.microsoft.com/office/drawing/2014/main" id="{4BEABEEC-14B6-4419-97EE-7111538ADA2A}"/>
              </a:ext>
            </a:extLst>
          </p:cNvPr>
          <p:cNvSpPr>
            <a:spLocks noGrp="1"/>
          </p:cNvSpPr>
          <p:nvPr>
            <p:ph type="body" sz="quarter" idx="61" hasCustomPrompt="1"/>
          </p:nvPr>
        </p:nvSpPr>
        <p:spPr>
          <a:xfrm>
            <a:off x="390331" y="3434353"/>
            <a:ext cx="36576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9" name="Text Placeholder 7">
            <a:extLst>
              <a:ext uri="{FF2B5EF4-FFF2-40B4-BE49-F238E27FC236}">
                <a16:creationId xmlns:a16="http://schemas.microsoft.com/office/drawing/2014/main" id="{7F667EF6-0F30-4E08-A465-3D645C4BCC8B}"/>
              </a:ext>
            </a:extLst>
          </p:cNvPr>
          <p:cNvSpPr>
            <a:spLocks noGrp="1"/>
          </p:cNvSpPr>
          <p:nvPr>
            <p:ph type="body" sz="quarter" idx="62" hasCustomPrompt="1"/>
          </p:nvPr>
        </p:nvSpPr>
        <p:spPr>
          <a:xfrm>
            <a:off x="390331" y="1600200"/>
            <a:ext cx="3657600" cy="854075"/>
          </a:xfrm>
          <a:prstGeom prst="rect">
            <a:avLst/>
          </a:prstGeom>
        </p:spPr>
        <p:txBody>
          <a:bodyPr anchor="ctr"/>
          <a:lstStyle>
            <a:lvl1pPr marL="0" indent="0" algn="l">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Tree>
    <p:extLst>
      <p:ext uri="{BB962C8B-B14F-4D97-AF65-F5344CB8AC3E}">
        <p14:creationId xmlns:p14="http://schemas.microsoft.com/office/powerpoint/2010/main" val="333300571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C98993A-9C3A-4E6F-A8C6-0C942FDF0892}"/>
              </a:ext>
            </a:extLst>
          </p:cNvPr>
          <p:cNvSpPr/>
          <p:nvPr userDrawn="1"/>
        </p:nvSpPr>
        <p:spPr>
          <a:xfrm>
            <a:off x="8003263" y="6246891"/>
            <a:ext cx="968721" cy="461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5EE70E34-1047-42DB-AE04-3FB5C5C73170}"/>
              </a:ext>
            </a:extLst>
          </p:cNvPr>
          <p:cNvCxnSpPr/>
          <p:nvPr userDrawn="1"/>
        </p:nvCxnSpPr>
        <p:spPr>
          <a:xfrm>
            <a:off x="502298"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content</a:t>
            </a:r>
          </a:p>
        </p:txBody>
      </p:sp>
      <p:sp>
        <p:nvSpPr>
          <p:cNvPr id="12" name="TextBox 11">
            <a:extLst>
              <a:ext uri="{FF2B5EF4-FFF2-40B4-BE49-F238E27FC236}">
                <a16:creationId xmlns:a16="http://schemas.microsoft.com/office/drawing/2014/main" id="{A3765DE3-4867-424A-B553-0EE0D6B69DBB}"/>
              </a:ext>
            </a:extLst>
          </p:cNvPr>
          <p:cNvSpPr txBox="1"/>
          <p:nvPr userDrawn="1"/>
        </p:nvSpPr>
        <p:spPr>
          <a:xfrm>
            <a:off x="390331" y="2334982"/>
            <a:ext cx="5715000" cy="615553"/>
          </a:xfrm>
          <a:prstGeom prst="rect">
            <a:avLst/>
          </a:prstGeom>
          <a:noFill/>
        </p:spPr>
        <p:txBody>
          <a:bodyPr wrap="square" rtlCol="0" anchor="b">
            <a:spAutoFit/>
          </a:bodyPr>
          <a:lstStyle/>
          <a:p>
            <a:r>
              <a:rPr lang="en-US" sz="34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Q&amp;A DISCUSSION</a:t>
            </a:r>
          </a:p>
        </p:txBody>
      </p:sp>
      <p:pic>
        <p:nvPicPr>
          <p:cNvPr id="13" name="Picture Placeholder 5">
            <a:extLst>
              <a:ext uri="{FF2B5EF4-FFF2-40B4-BE49-F238E27FC236}">
                <a16:creationId xmlns:a16="http://schemas.microsoft.com/office/drawing/2014/main" id="{E1CE07EB-D7A1-4DCD-BC11-38AD5B76DB0F}"/>
              </a:ext>
            </a:extLst>
          </p:cNvPr>
          <p:cNvPicPr>
            <a:picLocks noChangeAspect="1"/>
          </p:cNvPicPr>
          <p:nvPr userDrawn="1"/>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Tree>
    <p:extLst>
      <p:ext uri="{BB962C8B-B14F-4D97-AF65-F5344CB8AC3E}">
        <p14:creationId xmlns:p14="http://schemas.microsoft.com/office/powerpoint/2010/main" val="23446734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Overview with image on righ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64008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Box 7">
            <a:extLst>
              <a:ext uri="{FF2B5EF4-FFF2-40B4-BE49-F238E27FC236}">
                <a16:creationId xmlns:a16="http://schemas.microsoft.com/office/drawing/2014/main" id="{ADBE6524-3BC5-43DF-AA3E-BCDB1560C18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27197389"/>
      </p:ext>
    </p:extLst>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userDrawn="1"/>
        </p:nvPicPr>
        <p:blipFill>
          <a:blip r:embed="rId2"/>
          <a:src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userDrawn="1"/>
        </p:nvSpPr>
        <p:spPr>
          <a:xfrm>
            <a:off x="-1" y="1"/>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a:spLocks/>
          </p:cNvSpPr>
          <p:nvPr userDrawn="1"/>
        </p:nvSpPr>
        <p:spPr bwMode="auto">
          <a:xfrm>
            <a:off x="976498" y="1613180"/>
            <a:ext cx="10239021"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Bebas Neue" charset="0"/>
              </a:rPr>
              <a:t>CONNECT WITH US</a:t>
            </a:r>
          </a:p>
        </p:txBody>
      </p:sp>
      <p:sp>
        <p:nvSpPr>
          <p:cNvPr id="10" name="Rectangle 9">
            <a:extLst>
              <a:ext uri="{FF2B5EF4-FFF2-40B4-BE49-F238E27FC236}">
                <a16:creationId xmlns:a16="http://schemas.microsoft.com/office/drawing/2014/main" id="{64EB43D7-6E46-4F6B-A9DB-D495F1CDBCFC}"/>
              </a:ext>
            </a:extLst>
          </p:cNvPr>
          <p:cNvSpPr/>
          <p:nvPr userDrawn="1"/>
        </p:nvSpPr>
        <p:spPr>
          <a:xfrm>
            <a:off x="1558463" y="4140246"/>
            <a:ext cx="1072730"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userDrawn="1"/>
        </p:nvSpPr>
        <p:spPr>
          <a:xfrm>
            <a:off x="381000" y="5794258"/>
            <a:ext cx="11430000" cy="693010"/>
          </a:xfrm>
          <a:prstGeom prst="rect">
            <a:avLst/>
          </a:prstGeom>
          <a:noFill/>
        </p:spPr>
        <p:txBody>
          <a:bodyPr wrap="square" rtlCol="0">
            <a:spAutoFit/>
          </a:bodyPr>
          <a:lstStyle/>
          <a:p>
            <a:pPr algn="ctr">
              <a:lnSpc>
                <a:spcPts val="1620"/>
              </a:lnSpc>
            </a:pPr>
            <a:r>
              <a:rPr lang="en-US" sz="1100" dirty="0">
                <a:solidFill>
                  <a:schemeClr val="bg2"/>
                </a:solidFill>
                <a:latin typeface="Open Sans" panose="020B0606030504020204" pitchFamily="34" charset="0"/>
                <a:ea typeface="Open Sans" panose="020B0606030504020204" pitchFamily="34" charset="0"/>
                <a:cs typeface="Open Sans" panose="020B0606030504020204" pitchFamily="34" charset="0"/>
              </a:rPr>
              <a:t>Baker Donelson is among the 80 largest law firms in the country, with more than 650 attorneys and public policy advisors representing more than 30 practice areas to serve a wide range of legal needs. Clients receive knowledgeable guidance from experienced, multi-disciplined industry and client service teams, all seamlessly connected across 23 offices in Alabama, Florida, Georgia, Louisiana, Maryland, Mississippi, North Carolina,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sp>
        <p:nvSpPr>
          <p:cNvPr id="21" name="Rectangle 20">
            <a:extLst>
              <a:ext uri="{FF2B5EF4-FFF2-40B4-BE49-F238E27FC236}">
                <a16:creationId xmlns:a16="http://schemas.microsoft.com/office/drawing/2014/main" id="{43DE0751-F48A-4E59-91EF-79F744409C3B}"/>
              </a:ext>
            </a:extLst>
          </p:cNvPr>
          <p:cNvSpPr/>
          <p:nvPr userDrawn="1"/>
        </p:nvSpPr>
        <p:spPr>
          <a:xfrm>
            <a:off x="4142510" y="4140246"/>
            <a:ext cx="1299651"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userDrawn="1"/>
        </p:nvSpPr>
        <p:spPr>
          <a:xfrm>
            <a:off x="6652713" y="4140246"/>
            <a:ext cx="1164101"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958536" y="3514829"/>
            <a:ext cx="552450" cy="552450"/>
          </a:xfrm>
          <a:prstGeom prst="rect">
            <a:avLst/>
          </a:prstGeom>
        </p:spPr>
      </p:pic>
      <p:sp>
        <p:nvSpPr>
          <p:cNvPr id="2" name="Rectangle 1">
            <a:extLst>
              <a:ext uri="{FF2B5EF4-FFF2-40B4-BE49-F238E27FC236}">
                <a16:creationId xmlns:a16="http://schemas.microsoft.com/office/drawing/2014/main" id="{CFCDFCA0-2E95-874D-58FD-E3EB408E3E20}"/>
              </a:ext>
            </a:extLst>
          </p:cNvPr>
          <p:cNvSpPr/>
          <p:nvPr userDrawn="1"/>
        </p:nvSpPr>
        <p:spPr>
          <a:xfrm>
            <a:off x="9252904" y="4140246"/>
            <a:ext cx="1378455"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X (TWITTER)</a:t>
            </a:r>
          </a:p>
        </p:txBody>
      </p:sp>
      <p:pic>
        <p:nvPicPr>
          <p:cNvPr id="6" name="Picture 5" descr="A white x on a black background&#10;&#10;Description automatically generated">
            <a:extLst>
              <a:ext uri="{FF2B5EF4-FFF2-40B4-BE49-F238E27FC236}">
                <a16:creationId xmlns:a16="http://schemas.microsoft.com/office/drawing/2014/main" id="{BADD13B3-8597-827C-9C6D-6165E057D453}"/>
              </a:ext>
            </a:extLst>
          </p:cNvPr>
          <p:cNvPicPr>
            <a:picLocks noChangeAspect="1"/>
          </p:cNvPicPr>
          <p:nvPr userDrawn="1"/>
        </p:nvPicPr>
        <p:blipFill>
          <a:blip r:embed="rId9"/>
          <a:stretch>
            <a:fillRect/>
          </a:stretch>
        </p:blipFill>
        <p:spPr>
          <a:xfrm>
            <a:off x="9673738" y="3518639"/>
            <a:ext cx="536786" cy="548640"/>
          </a:xfrm>
          <a:prstGeom prst="rect">
            <a:avLst/>
          </a:prstGeom>
        </p:spPr>
      </p:pic>
    </p:spTree>
    <p:extLst>
      <p:ext uri="{BB962C8B-B14F-4D97-AF65-F5344CB8AC3E}">
        <p14:creationId xmlns:p14="http://schemas.microsoft.com/office/powerpoint/2010/main" val="40959837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A6C47CC-0B48-799E-BDD9-79F72E486C27}"/>
              </a:ext>
            </a:extLst>
          </p:cNvPr>
          <p:cNvSpPr>
            <a:spLocks noGrp="1"/>
          </p:cNvSpPr>
          <p:nvPr>
            <p:ph type="pic" sz="quarter" idx="10"/>
          </p:nvPr>
        </p:nvSpPr>
        <p:spPr>
          <a:xfrm>
            <a:off x="0" y="0"/>
            <a:ext cx="12192000" cy="2286000"/>
          </a:xfrm>
          <a:prstGeom prst="rect">
            <a:avLst/>
          </a:prstGeom>
          <a:solidFill>
            <a:schemeClr val="bg1">
              <a:lumMod val="85000"/>
            </a:schemeClr>
          </a:solidFill>
        </p:spPr>
        <p:txBody>
          <a:bodyPr anchor="ctr"/>
          <a:lstStyle>
            <a:lvl1pPr marL="0" indent="0" algn="ctr">
              <a:buNone/>
              <a:defRPr>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dirty="0"/>
          </a:p>
        </p:txBody>
      </p:sp>
      <p:sp>
        <p:nvSpPr>
          <p:cNvPr id="6" name="Text Placeholder 10">
            <a:extLst>
              <a:ext uri="{FF2B5EF4-FFF2-40B4-BE49-F238E27FC236}">
                <a16:creationId xmlns:a16="http://schemas.microsoft.com/office/drawing/2014/main" id="{7ED3C8FC-6C9B-0385-9B13-EB5FC3861B01}"/>
              </a:ext>
            </a:extLst>
          </p:cNvPr>
          <p:cNvSpPr>
            <a:spLocks noGrp="1"/>
          </p:cNvSpPr>
          <p:nvPr>
            <p:ph type="body" sz="quarter" idx="15" hasCustomPrompt="1"/>
          </p:nvPr>
        </p:nvSpPr>
        <p:spPr>
          <a:xfrm>
            <a:off x="390331" y="478997"/>
            <a:ext cx="6315269" cy="502920"/>
          </a:xfrm>
          <a:prstGeom prst="rect">
            <a:avLst/>
          </a:prstGeom>
        </p:spPr>
        <p:txBody>
          <a:bodyPr anchor="ctr">
            <a:noAutofit/>
          </a:bodyPr>
          <a:lstStyle>
            <a:lvl1pPr marL="0" indent="0" algn="l">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991E6E84-81E6-1746-2197-66428E38FD7A}"/>
              </a:ext>
            </a:extLst>
          </p:cNvPr>
          <p:cNvSpPr>
            <a:spLocks noGrp="1"/>
          </p:cNvSpPr>
          <p:nvPr>
            <p:ph type="body" sz="quarter" idx="16" hasCustomPrompt="1"/>
          </p:nvPr>
        </p:nvSpPr>
        <p:spPr>
          <a:xfrm>
            <a:off x="390331" y="1712695"/>
            <a:ext cx="6626289" cy="274320"/>
          </a:xfrm>
          <a:prstGeom prst="rect">
            <a:avLst/>
          </a:prstGeom>
        </p:spPr>
        <p:txBody>
          <a:bodyPr anchor="ctr">
            <a:noAutofit/>
          </a:bodyPr>
          <a:lstStyle>
            <a:lvl1pPr marL="0" indent="0" algn="l">
              <a:lnSpc>
                <a:spcPct val="100000"/>
              </a:lnSpc>
              <a:spcBef>
                <a:spcPts val="0"/>
              </a:spcBef>
              <a:buNone/>
              <a:defRPr sz="1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cxnSp>
        <p:nvCxnSpPr>
          <p:cNvPr id="5" name="Straight Connector 4">
            <a:extLst>
              <a:ext uri="{FF2B5EF4-FFF2-40B4-BE49-F238E27FC236}">
                <a16:creationId xmlns:a16="http://schemas.microsoft.com/office/drawing/2014/main" id="{1628D026-DE32-5C46-2389-4E8836D91042}"/>
              </a:ext>
            </a:extLst>
          </p:cNvPr>
          <p:cNvCxnSpPr/>
          <p:nvPr userDrawn="1"/>
        </p:nvCxnSpPr>
        <p:spPr>
          <a:xfrm>
            <a:off x="530286" y="1483893"/>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65217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Data Privacy">
    <p:spTree>
      <p:nvGrpSpPr>
        <p:cNvPr id="1" name=""/>
        <p:cNvGrpSpPr/>
        <p:nvPr/>
      </p:nvGrpSpPr>
      <p:grpSpPr>
        <a:xfrm>
          <a:off x="0" y="0"/>
          <a:ext cx="0" cy="0"/>
          <a:chOff x="0" y="0"/>
          <a:chExt cx="0" cy="0"/>
        </a:xfrm>
      </p:grpSpPr>
      <p:pic>
        <p:nvPicPr>
          <p:cNvPr id="12" name="Picture Placeholder 14">
            <a:extLst>
              <a:ext uri="{FF2B5EF4-FFF2-40B4-BE49-F238E27FC236}">
                <a16:creationId xmlns:a16="http://schemas.microsoft.com/office/drawing/2014/main" id="{7FCC1A8B-F827-470E-AA71-EE288BC444C3}"/>
              </a:ext>
            </a:extLst>
          </p:cNvPr>
          <p:cNvPicPr>
            <a:picLocks noChangeAspect="1"/>
          </p:cNvPicPr>
          <p:nvPr userDrawn="1"/>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1" name="Rectangle 10">
            <a:extLst>
              <a:ext uri="{FF2B5EF4-FFF2-40B4-BE49-F238E27FC236}">
                <a16:creationId xmlns:a16="http://schemas.microsoft.com/office/drawing/2014/main" id="{CFF768DD-5594-4F4B-B7FE-94A45903BF18}"/>
              </a:ext>
            </a:extLst>
          </p:cNvPr>
          <p:cNvSpPr/>
          <p:nvPr userDrawn="1"/>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5" name="Straight Connector 14">
            <a:extLst>
              <a:ext uri="{FF2B5EF4-FFF2-40B4-BE49-F238E27FC236}">
                <a16:creationId xmlns:a16="http://schemas.microsoft.com/office/drawing/2014/main" id="{EFC0DD85-ABF6-4AD9-A8BE-86718A77B20B}"/>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10">
            <a:extLst>
              <a:ext uri="{FF2B5EF4-FFF2-40B4-BE49-F238E27FC236}">
                <a16:creationId xmlns:a16="http://schemas.microsoft.com/office/drawing/2014/main" id="{A3CA12F3-089D-4A4B-916E-6E32F1D39576}"/>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PRESENTATION TITLE</a:t>
            </a:r>
          </a:p>
        </p:txBody>
      </p:sp>
      <p:sp>
        <p:nvSpPr>
          <p:cNvPr id="18" name="Text Placeholder 14">
            <a:extLst>
              <a:ext uri="{FF2B5EF4-FFF2-40B4-BE49-F238E27FC236}">
                <a16:creationId xmlns:a16="http://schemas.microsoft.com/office/drawing/2014/main" id="{96550741-CAAA-475D-94BF-DA7E83BA2AFC}"/>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F8D44D4B-17C2-4FFF-A198-0B5159579D34}"/>
              </a:ext>
            </a:extLst>
          </p:cNvPr>
          <p:cNvSpPr>
            <a:spLocks noGrp="1"/>
          </p:cNvSpPr>
          <p:nvPr>
            <p:ph type="body" sz="quarter" idx="12" hasCustomPrompt="1"/>
          </p:nvPr>
        </p:nvSpPr>
        <p:spPr>
          <a:xfrm>
            <a:off x="390331" y="3888870"/>
            <a:ext cx="11420475"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Tree>
    <p:extLst>
      <p:ext uri="{BB962C8B-B14F-4D97-AF65-F5344CB8AC3E}">
        <p14:creationId xmlns:p14="http://schemas.microsoft.com/office/powerpoint/2010/main" val="40045836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verview with image on lef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5410200" y="628650"/>
            <a:ext cx="64008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Box 7">
            <a:extLst>
              <a:ext uri="{FF2B5EF4-FFF2-40B4-BE49-F238E27FC236}">
                <a16:creationId xmlns:a16="http://schemas.microsoft.com/office/drawing/2014/main" id="{9F3BC239-D05E-4900-A52D-214658C97D5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73924824"/>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Subtitle Left Arrow - One column">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6148C1-F56C-4733-95D5-44651A2C9B69}"/>
              </a:ext>
            </a:extLst>
          </p:cNvPr>
          <p:cNvGrpSpPr/>
          <p:nvPr userDrawn="1"/>
        </p:nvGrpSpPr>
        <p:grpSpPr>
          <a:xfrm>
            <a:off x="1"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155895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30165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30165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4953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Box 7">
            <a:extLst>
              <a:ext uri="{FF2B5EF4-FFF2-40B4-BE49-F238E27FC236}">
                <a16:creationId xmlns:a16="http://schemas.microsoft.com/office/drawing/2014/main" id="{2734946C-A4ED-40BE-9016-D51DF99D6FB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96958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Subtitle Right Arrow - One column">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871C5A8-BF00-4218-8472-981FFC28BD65}"/>
              </a:ext>
            </a:extLst>
          </p:cNvPr>
          <p:cNvGrpSpPr/>
          <p:nvPr userDrawn="1"/>
        </p:nvGrpSpPr>
        <p:grpSpPr>
          <a:xfrm>
            <a:off x="7892272" y="0"/>
            <a:ext cx="4299728" cy="6858000"/>
            <a:chOff x="7892272" y="0"/>
            <a:chExt cx="4299728" cy="6858000"/>
          </a:xfrm>
        </p:grpSpPr>
        <p:sp>
          <p:nvSpPr>
            <p:cNvPr id="3" name="Rectangle 2">
              <a:extLst>
                <a:ext uri="{FF2B5EF4-FFF2-40B4-BE49-F238E27FC236}">
                  <a16:creationId xmlns:a16="http://schemas.microsoft.com/office/drawing/2014/main" id="{662A5C94-8B2E-4F87-A64D-A44FF3BA6F39}"/>
                </a:ext>
              </a:extLst>
            </p:cNvPr>
            <p:cNvSpPr/>
            <p:nvPr userDrawn="1"/>
          </p:nvSpPr>
          <p:spPr>
            <a:xfrm>
              <a:off x="8610600" y="6476214"/>
              <a:ext cx="571107" cy="216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26148C1-F56C-4733-95D5-44651A2C9B69}"/>
                </a:ext>
              </a:extLst>
            </p:cNvPr>
            <p:cNvGrpSpPr/>
            <p:nvPr userDrawn="1"/>
          </p:nvGrpSpPr>
          <p:grpSpPr>
            <a:xfrm flipH="1">
              <a:off x="7892272"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986790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861060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861060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381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TextBox 7">
            <a:extLst>
              <a:ext uri="{FF2B5EF4-FFF2-40B4-BE49-F238E27FC236}">
                <a16:creationId xmlns:a16="http://schemas.microsoft.com/office/drawing/2014/main" id="{01643D19-1DA1-4AD1-9568-F3978E0B7C2B}"/>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87360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attorney team">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ADE59870-FA01-4917-A7F1-7ED22B21E64B}"/>
              </a:ext>
            </a:extLst>
          </p:cNvPr>
          <p:cNvSpPr>
            <a:spLocks noGrp="1"/>
          </p:cNvSpPr>
          <p:nvPr>
            <p:ph type="pic" sz="quarter" idx="68"/>
          </p:nvPr>
        </p:nvSpPr>
        <p:spPr>
          <a:xfrm>
            <a:off x="1076228"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1" name="Text Placeholder 27">
            <a:extLst>
              <a:ext uri="{FF2B5EF4-FFF2-40B4-BE49-F238E27FC236}">
                <a16:creationId xmlns:a16="http://schemas.microsoft.com/office/drawing/2014/main" id="{97A26C40-36F9-4050-A037-AAA9AF17AFAC}"/>
              </a:ext>
            </a:extLst>
          </p:cNvPr>
          <p:cNvSpPr>
            <a:spLocks noGrp="1"/>
          </p:cNvSpPr>
          <p:nvPr>
            <p:ph type="body" sz="quarter" idx="28" hasCustomPrompt="1"/>
          </p:nvPr>
        </p:nvSpPr>
        <p:spPr>
          <a:xfrm>
            <a:off x="390428"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2" name="Text Placeholder 27">
            <a:extLst>
              <a:ext uri="{FF2B5EF4-FFF2-40B4-BE49-F238E27FC236}">
                <a16:creationId xmlns:a16="http://schemas.microsoft.com/office/drawing/2014/main" id="{F426880D-0B8A-4915-B6F2-A2AC69254AF3}"/>
              </a:ext>
            </a:extLst>
          </p:cNvPr>
          <p:cNvSpPr>
            <a:spLocks noGrp="1"/>
          </p:cNvSpPr>
          <p:nvPr>
            <p:ph type="body" sz="quarter" idx="29" hasCustomPrompt="1"/>
          </p:nvPr>
        </p:nvSpPr>
        <p:spPr>
          <a:xfrm>
            <a:off x="3279321"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3" name="Text Placeholder 27">
            <a:extLst>
              <a:ext uri="{FF2B5EF4-FFF2-40B4-BE49-F238E27FC236}">
                <a16:creationId xmlns:a16="http://schemas.microsoft.com/office/drawing/2014/main" id="{9911E403-AFBC-4E75-A8D4-47C8627097FE}"/>
              </a:ext>
            </a:extLst>
          </p:cNvPr>
          <p:cNvSpPr>
            <a:spLocks noGrp="1"/>
          </p:cNvSpPr>
          <p:nvPr>
            <p:ph type="body" sz="quarter" idx="30" hasCustomPrompt="1"/>
          </p:nvPr>
        </p:nvSpPr>
        <p:spPr>
          <a:xfrm>
            <a:off x="6168117"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4" name="Text Placeholder 27">
            <a:extLst>
              <a:ext uri="{FF2B5EF4-FFF2-40B4-BE49-F238E27FC236}">
                <a16:creationId xmlns:a16="http://schemas.microsoft.com/office/drawing/2014/main" id="{5257D8A0-3473-499A-9B83-A493336CF7FB}"/>
              </a:ext>
            </a:extLst>
          </p:cNvPr>
          <p:cNvSpPr>
            <a:spLocks noGrp="1"/>
          </p:cNvSpPr>
          <p:nvPr>
            <p:ph type="body" sz="quarter" idx="31" hasCustomPrompt="1"/>
          </p:nvPr>
        </p:nvSpPr>
        <p:spPr>
          <a:xfrm>
            <a:off x="9056914"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5" name="Picture Placeholder 7">
            <a:extLst>
              <a:ext uri="{FF2B5EF4-FFF2-40B4-BE49-F238E27FC236}">
                <a16:creationId xmlns:a16="http://schemas.microsoft.com/office/drawing/2014/main" id="{A8935422-98DE-4953-81B9-EEAD81C741BB}"/>
              </a:ext>
            </a:extLst>
          </p:cNvPr>
          <p:cNvSpPr>
            <a:spLocks noGrp="1"/>
          </p:cNvSpPr>
          <p:nvPr>
            <p:ph type="pic" sz="quarter" idx="69"/>
          </p:nvPr>
        </p:nvSpPr>
        <p:spPr>
          <a:xfrm>
            <a:off x="3965057"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6" name="Picture Placeholder 7">
            <a:extLst>
              <a:ext uri="{FF2B5EF4-FFF2-40B4-BE49-F238E27FC236}">
                <a16:creationId xmlns:a16="http://schemas.microsoft.com/office/drawing/2014/main" id="{685D4BDA-3A30-439A-B3EA-1CFCC97F6580}"/>
              </a:ext>
            </a:extLst>
          </p:cNvPr>
          <p:cNvSpPr>
            <a:spLocks noGrp="1"/>
          </p:cNvSpPr>
          <p:nvPr>
            <p:ph type="pic" sz="quarter" idx="70"/>
          </p:nvPr>
        </p:nvSpPr>
        <p:spPr>
          <a:xfrm>
            <a:off x="6853886"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7" name="Picture Placeholder 7">
            <a:extLst>
              <a:ext uri="{FF2B5EF4-FFF2-40B4-BE49-F238E27FC236}">
                <a16:creationId xmlns:a16="http://schemas.microsoft.com/office/drawing/2014/main" id="{A00DF56A-B640-4D0B-8148-92BAAC6C07BC}"/>
              </a:ext>
            </a:extLst>
          </p:cNvPr>
          <p:cNvSpPr>
            <a:spLocks noGrp="1"/>
          </p:cNvSpPr>
          <p:nvPr>
            <p:ph type="pic" sz="quarter" idx="71"/>
          </p:nvPr>
        </p:nvSpPr>
        <p:spPr>
          <a:xfrm>
            <a:off x="9742714"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cxnSp>
        <p:nvCxnSpPr>
          <p:cNvPr id="19" name="Straight Connector 18">
            <a:extLst>
              <a:ext uri="{FF2B5EF4-FFF2-40B4-BE49-F238E27FC236}">
                <a16:creationId xmlns:a16="http://schemas.microsoft.com/office/drawing/2014/main" id="{711843B2-8C8F-44A3-BBD8-2EBE1DA50BA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6594DC06-EADF-4EE8-87CA-970BD5752164}"/>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BA5FA02D-1D01-4717-8A07-0FE4B04C382A}"/>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5" name="TextBox 7">
            <a:extLst>
              <a:ext uri="{FF2B5EF4-FFF2-40B4-BE49-F238E27FC236}">
                <a16:creationId xmlns:a16="http://schemas.microsoft.com/office/drawing/2014/main" id="{C62D920C-6A3D-4F82-982A-01E2AB9EB655}"/>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1465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Option 3">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96A41164-9E02-42F7-95BC-2C9613F1A086}"/>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2</a:t>
            </a:r>
          </a:p>
        </p:txBody>
      </p:sp>
      <p:sp>
        <p:nvSpPr>
          <p:cNvPr id="18" name="Text Placeholder 14">
            <a:extLst>
              <a:ext uri="{FF2B5EF4-FFF2-40B4-BE49-F238E27FC236}">
                <a16:creationId xmlns:a16="http://schemas.microsoft.com/office/drawing/2014/main" id="{E7D0411B-98D2-40EE-A7C9-A6A4CDA8D6AF}"/>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63BFF807-FD44-4F0D-B39A-70F80C78AF66}"/>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0" name="Text Placeholder 14">
            <a:extLst>
              <a:ext uri="{FF2B5EF4-FFF2-40B4-BE49-F238E27FC236}">
                <a16:creationId xmlns:a16="http://schemas.microsoft.com/office/drawing/2014/main" id="{31C4B28D-0969-490A-B13C-C8EB39316D59}"/>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AE57C29B-D449-4CC7-B381-424636D9EEB7}"/>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160B9B91-190A-453C-87F6-790E5B769CFF}"/>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194627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attorney mini bios">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ADE59870-FA01-4917-A7F1-7ED22B21E64B}"/>
              </a:ext>
            </a:extLst>
          </p:cNvPr>
          <p:cNvSpPr>
            <a:spLocks noGrp="1"/>
          </p:cNvSpPr>
          <p:nvPr>
            <p:ph type="pic" sz="quarter" idx="68"/>
          </p:nvPr>
        </p:nvSpPr>
        <p:spPr>
          <a:xfrm>
            <a:off x="390428"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dirty="0"/>
          </a:p>
        </p:txBody>
      </p:sp>
      <p:sp>
        <p:nvSpPr>
          <p:cNvPr id="21" name="Text Placeholder 27">
            <a:extLst>
              <a:ext uri="{FF2B5EF4-FFF2-40B4-BE49-F238E27FC236}">
                <a16:creationId xmlns:a16="http://schemas.microsoft.com/office/drawing/2014/main" id="{97A26C40-36F9-4050-A037-AAA9AF17AFAC}"/>
              </a:ext>
            </a:extLst>
          </p:cNvPr>
          <p:cNvSpPr>
            <a:spLocks noGrp="1"/>
          </p:cNvSpPr>
          <p:nvPr>
            <p:ph type="body" sz="quarter" idx="28" hasCustomPrompt="1"/>
          </p:nvPr>
        </p:nvSpPr>
        <p:spPr>
          <a:xfrm>
            <a:off x="390428" y="3440260"/>
            <a:ext cx="5486400" cy="274320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s mini bio; include the most relevant experience related to the client/opportunity</a:t>
            </a:r>
          </a:p>
        </p:txBody>
      </p:sp>
      <p:sp>
        <p:nvSpPr>
          <p:cNvPr id="23" name="Text Placeholder 27">
            <a:extLst>
              <a:ext uri="{FF2B5EF4-FFF2-40B4-BE49-F238E27FC236}">
                <a16:creationId xmlns:a16="http://schemas.microsoft.com/office/drawing/2014/main" id="{9911E403-AFBC-4E75-A8D4-47C8627097FE}"/>
              </a:ext>
            </a:extLst>
          </p:cNvPr>
          <p:cNvSpPr>
            <a:spLocks noGrp="1"/>
          </p:cNvSpPr>
          <p:nvPr>
            <p:ph type="body" sz="quarter" idx="30" hasCustomPrompt="1"/>
          </p:nvPr>
        </p:nvSpPr>
        <p:spPr>
          <a:xfrm>
            <a:off x="6096000" y="3440260"/>
            <a:ext cx="5486400" cy="274320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s mini bio; include the most relevant experience related to the client/opportunity</a:t>
            </a:r>
          </a:p>
        </p:txBody>
      </p:sp>
      <p:sp>
        <p:nvSpPr>
          <p:cNvPr id="26" name="Picture Placeholder 7">
            <a:extLst>
              <a:ext uri="{FF2B5EF4-FFF2-40B4-BE49-F238E27FC236}">
                <a16:creationId xmlns:a16="http://schemas.microsoft.com/office/drawing/2014/main" id="{685D4BDA-3A30-439A-B3EA-1CFCC97F6580}"/>
              </a:ext>
            </a:extLst>
          </p:cNvPr>
          <p:cNvSpPr>
            <a:spLocks noGrp="1"/>
          </p:cNvSpPr>
          <p:nvPr>
            <p:ph type="pic" sz="quarter" idx="70"/>
          </p:nvPr>
        </p:nvSpPr>
        <p:spPr>
          <a:xfrm>
            <a:off x="6096000"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dirty="0"/>
          </a:p>
        </p:txBody>
      </p:sp>
      <p:cxnSp>
        <p:nvCxnSpPr>
          <p:cNvPr id="19" name="Straight Connector 18">
            <a:extLst>
              <a:ext uri="{FF2B5EF4-FFF2-40B4-BE49-F238E27FC236}">
                <a16:creationId xmlns:a16="http://schemas.microsoft.com/office/drawing/2014/main" id="{711843B2-8C8F-44A3-BBD8-2EBE1DA50BA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0">
            <a:extLst>
              <a:ext uri="{FF2B5EF4-FFF2-40B4-BE49-F238E27FC236}">
                <a16:creationId xmlns:a16="http://schemas.microsoft.com/office/drawing/2014/main" id="{FE8BF5DF-F438-4C13-B4ED-011B9F9F76BC}"/>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29" name="Text Placeholder 2">
            <a:extLst>
              <a:ext uri="{FF2B5EF4-FFF2-40B4-BE49-F238E27FC236}">
                <a16:creationId xmlns:a16="http://schemas.microsoft.com/office/drawing/2014/main" id="{A360920F-5451-49BE-8E1E-EDAF4C3681E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3" name="Text Placeholder 2">
            <a:extLst>
              <a:ext uri="{FF2B5EF4-FFF2-40B4-BE49-F238E27FC236}">
                <a16:creationId xmlns:a16="http://schemas.microsoft.com/office/drawing/2014/main" id="{0AA4D330-DB7F-466E-8606-B1CB343D9B75}"/>
              </a:ext>
            </a:extLst>
          </p:cNvPr>
          <p:cNvSpPr>
            <a:spLocks noGrp="1"/>
          </p:cNvSpPr>
          <p:nvPr>
            <p:ph type="body" sz="quarter" idx="71" hasCustomPrompt="1"/>
          </p:nvPr>
        </p:nvSpPr>
        <p:spPr>
          <a:xfrm>
            <a:off x="1944908" y="1616304"/>
            <a:ext cx="3931920" cy="1371600"/>
          </a:xfrm>
          <a:prstGeom prst="rect">
            <a:avLst/>
          </a:prstGeom>
        </p:spPr>
        <p:txBody>
          <a:bodyPr/>
          <a:lstStyle>
            <a:lvl1pPr marL="0" indent="0">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Attorney Name</a:t>
            </a:r>
            <a:br>
              <a:rPr lang="en-US" dirty="0"/>
            </a:br>
            <a:r>
              <a:rPr lang="en-US" dirty="0"/>
              <a:t>Title</a:t>
            </a:r>
            <a:br>
              <a:rPr lang="en-US" dirty="0"/>
            </a:br>
            <a:r>
              <a:rPr lang="en-US" dirty="0"/>
              <a:t>Office</a:t>
            </a:r>
            <a:br>
              <a:rPr lang="en-US" dirty="0"/>
            </a:br>
            <a:r>
              <a:rPr lang="en-US" dirty="0"/>
              <a:t>Phone</a:t>
            </a:r>
            <a:br>
              <a:rPr lang="en-US" dirty="0"/>
            </a:br>
            <a:r>
              <a:rPr lang="en-US" dirty="0"/>
              <a:t>Email</a:t>
            </a:r>
          </a:p>
        </p:txBody>
      </p:sp>
      <p:sp>
        <p:nvSpPr>
          <p:cNvPr id="15" name="Text Placeholder 2">
            <a:extLst>
              <a:ext uri="{FF2B5EF4-FFF2-40B4-BE49-F238E27FC236}">
                <a16:creationId xmlns:a16="http://schemas.microsoft.com/office/drawing/2014/main" id="{1595DD16-BB7F-4423-95FD-FEBAAF6041F5}"/>
              </a:ext>
            </a:extLst>
          </p:cNvPr>
          <p:cNvSpPr>
            <a:spLocks noGrp="1"/>
          </p:cNvSpPr>
          <p:nvPr>
            <p:ph type="body" sz="quarter" idx="72" hasCustomPrompt="1"/>
          </p:nvPr>
        </p:nvSpPr>
        <p:spPr>
          <a:xfrm>
            <a:off x="7650480" y="1616304"/>
            <a:ext cx="3931920" cy="1371600"/>
          </a:xfrm>
          <a:prstGeom prst="rect">
            <a:avLst/>
          </a:prstGeom>
        </p:spPr>
        <p:txBody>
          <a:bodyPr/>
          <a:lstStyle>
            <a:lvl1pPr marL="0" indent="0">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Attorney Name</a:t>
            </a:r>
            <a:br>
              <a:rPr lang="en-US" dirty="0"/>
            </a:br>
            <a:r>
              <a:rPr lang="en-US" dirty="0"/>
              <a:t>Title</a:t>
            </a:r>
            <a:br>
              <a:rPr lang="en-US" dirty="0"/>
            </a:br>
            <a:r>
              <a:rPr lang="en-US" dirty="0"/>
              <a:t>Office</a:t>
            </a:r>
            <a:br>
              <a:rPr lang="en-US" dirty="0"/>
            </a:br>
            <a:r>
              <a:rPr lang="en-US" dirty="0"/>
              <a:t>Phone</a:t>
            </a:r>
            <a:br>
              <a:rPr lang="en-US" dirty="0"/>
            </a:br>
            <a:r>
              <a:rPr lang="en-US" dirty="0"/>
              <a:t>Email</a:t>
            </a:r>
          </a:p>
        </p:txBody>
      </p:sp>
    </p:spTree>
    <p:extLst>
      <p:ext uri="{BB962C8B-B14F-4D97-AF65-F5344CB8AC3E}">
        <p14:creationId xmlns:p14="http://schemas.microsoft.com/office/powerpoint/2010/main" val="19320452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x Rep Matters">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39C3241E-0248-4FD0-A411-E8D8CEB18769}"/>
              </a:ext>
            </a:extLst>
          </p:cNvPr>
          <p:cNvSpPr>
            <a:spLocks noGrp="1"/>
          </p:cNvSpPr>
          <p:nvPr>
            <p:ph type="pic" sz="quarter" idx="11" hasCustomPrompt="1"/>
          </p:nvPr>
        </p:nvSpPr>
        <p:spPr>
          <a:xfrm>
            <a:off x="390331" y="1617952"/>
            <a:ext cx="3657600" cy="1005840"/>
          </a:xfrm>
          <a:prstGeom prst="rect">
            <a:avLst/>
          </a:prstGeom>
          <a:solidFill>
            <a:schemeClr val="bg1">
              <a:lumMod val="95000"/>
            </a:schemeClr>
          </a:solidFill>
        </p:spPr>
        <p:txBody>
          <a:bodyPr anchor="ctr"/>
          <a:lstStyle>
            <a:lvl1pPr marL="0" indent="0" algn="ctr">
              <a:buNone/>
              <a:defRPr sz="2400">
                <a:solidFill>
                  <a:schemeClr val="bg1">
                    <a:lumMod val="75000"/>
                  </a:schemeClr>
                </a:solidFill>
              </a:defRPr>
            </a:lvl1pPr>
          </a:lstStyle>
          <a:p>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5" name="Picture Placeholder 37">
            <a:extLst>
              <a:ext uri="{FF2B5EF4-FFF2-40B4-BE49-F238E27FC236}">
                <a16:creationId xmlns:a16="http://schemas.microsoft.com/office/drawing/2014/main" id="{F94DD322-BCC5-4552-91D7-9824DCBC8750}"/>
              </a:ext>
            </a:extLst>
          </p:cNvPr>
          <p:cNvSpPr>
            <a:spLocks noGrp="1"/>
          </p:cNvSpPr>
          <p:nvPr>
            <p:ph type="pic" sz="quarter" idx="17" hasCustomPrompt="1"/>
          </p:nvPr>
        </p:nvSpPr>
        <p:spPr>
          <a:xfrm>
            <a:off x="42765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7" name="Picture Placeholder 37">
            <a:extLst>
              <a:ext uri="{FF2B5EF4-FFF2-40B4-BE49-F238E27FC236}">
                <a16:creationId xmlns:a16="http://schemas.microsoft.com/office/drawing/2014/main" id="{38849EE0-04FA-45BB-B7D7-DF5BC2E7A74C}"/>
              </a:ext>
            </a:extLst>
          </p:cNvPr>
          <p:cNvSpPr>
            <a:spLocks noGrp="1"/>
          </p:cNvSpPr>
          <p:nvPr>
            <p:ph type="pic" sz="quarter" idx="19" hasCustomPrompt="1"/>
          </p:nvPr>
        </p:nvSpPr>
        <p:spPr>
          <a:xfrm>
            <a:off x="81627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0" name="Text Placeholder 27">
            <a:extLst>
              <a:ext uri="{FF2B5EF4-FFF2-40B4-BE49-F238E27FC236}">
                <a16:creationId xmlns:a16="http://schemas.microsoft.com/office/drawing/2014/main" id="{CD467619-55C3-4742-80C4-BB51BE9D4554}"/>
              </a:ext>
            </a:extLst>
          </p:cNvPr>
          <p:cNvSpPr>
            <a:spLocks noGrp="1"/>
          </p:cNvSpPr>
          <p:nvPr>
            <p:ph type="body" sz="quarter" idx="20" hasCustomPrompt="1"/>
          </p:nvPr>
        </p:nvSpPr>
        <p:spPr>
          <a:xfrm>
            <a:off x="390525"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1" name="Text Placeholder 27">
            <a:extLst>
              <a:ext uri="{FF2B5EF4-FFF2-40B4-BE49-F238E27FC236}">
                <a16:creationId xmlns:a16="http://schemas.microsoft.com/office/drawing/2014/main" id="{9FFA7C56-5235-456F-A55D-D2423BCAD92A}"/>
              </a:ext>
            </a:extLst>
          </p:cNvPr>
          <p:cNvSpPr>
            <a:spLocks noGrp="1"/>
          </p:cNvSpPr>
          <p:nvPr>
            <p:ph type="body" sz="quarter" idx="21" hasCustomPrompt="1"/>
          </p:nvPr>
        </p:nvSpPr>
        <p:spPr>
          <a:xfrm>
            <a:off x="4276628"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3" name="Text Placeholder 27">
            <a:extLst>
              <a:ext uri="{FF2B5EF4-FFF2-40B4-BE49-F238E27FC236}">
                <a16:creationId xmlns:a16="http://schemas.microsoft.com/office/drawing/2014/main" id="{A3C8A936-56B8-4185-A261-8C1B6BBB4617}"/>
              </a:ext>
            </a:extLst>
          </p:cNvPr>
          <p:cNvSpPr>
            <a:spLocks noGrp="1"/>
          </p:cNvSpPr>
          <p:nvPr>
            <p:ph type="body" sz="quarter" idx="23" hasCustomPrompt="1"/>
          </p:nvPr>
        </p:nvSpPr>
        <p:spPr>
          <a:xfrm>
            <a:off x="8162731"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4" name="Picture Placeholder 37">
            <a:extLst>
              <a:ext uri="{FF2B5EF4-FFF2-40B4-BE49-F238E27FC236}">
                <a16:creationId xmlns:a16="http://schemas.microsoft.com/office/drawing/2014/main" id="{6D8138D3-69BB-4AD6-9F8C-44137E15D906}"/>
              </a:ext>
            </a:extLst>
          </p:cNvPr>
          <p:cNvSpPr>
            <a:spLocks noGrp="1"/>
          </p:cNvSpPr>
          <p:nvPr>
            <p:ph type="pic" sz="quarter" idx="24" hasCustomPrompt="1"/>
          </p:nvPr>
        </p:nvSpPr>
        <p:spPr>
          <a:xfrm>
            <a:off x="3903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5" name="Picture Placeholder 37">
            <a:extLst>
              <a:ext uri="{FF2B5EF4-FFF2-40B4-BE49-F238E27FC236}">
                <a16:creationId xmlns:a16="http://schemas.microsoft.com/office/drawing/2014/main" id="{C68F96D0-5879-48BE-A9CC-C8DEED25EA58}"/>
              </a:ext>
            </a:extLst>
          </p:cNvPr>
          <p:cNvSpPr>
            <a:spLocks noGrp="1"/>
          </p:cNvSpPr>
          <p:nvPr>
            <p:ph type="pic" sz="quarter" idx="25" hasCustomPrompt="1"/>
          </p:nvPr>
        </p:nvSpPr>
        <p:spPr>
          <a:xfrm>
            <a:off x="42765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7" name="Picture Placeholder 37">
            <a:extLst>
              <a:ext uri="{FF2B5EF4-FFF2-40B4-BE49-F238E27FC236}">
                <a16:creationId xmlns:a16="http://schemas.microsoft.com/office/drawing/2014/main" id="{F220ACE6-02F4-4AAF-8A08-7142312BF6D1}"/>
              </a:ext>
            </a:extLst>
          </p:cNvPr>
          <p:cNvSpPr>
            <a:spLocks noGrp="1"/>
          </p:cNvSpPr>
          <p:nvPr>
            <p:ph type="pic" sz="quarter" idx="27" hasCustomPrompt="1"/>
          </p:nvPr>
        </p:nvSpPr>
        <p:spPr>
          <a:xfrm>
            <a:off x="81627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8" name="Text Placeholder 27">
            <a:extLst>
              <a:ext uri="{FF2B5EF4-FFF2-40B4-BE49-F238E27FC236}">
                <a16:creationId xmlns:a16="http://schemas.microsoft.com/office/drawing/2014/main" id="{908E73A7-8AC1-47F5-9EEE-1E5FCD29801B}"/>
              </a:ext>
            </a:extLst>
          </p:cNvPr>
          <p:cNvSpPr>
            <a:spLocks noGrp="1"/>
          </p:cNvSpPr>
          <p:nvPr>
            <p:ph type="body" sz="quarter" idx="28" hasCustomPrompt="1"/>
          </p:nvPr>
        </p:nvSpPr>
        <p:spPr>
          <a:xfrm>
            <a:off x="390525"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4" name="Text Placeholder 27">
            <a:extLst>
              <a:ext uri="{FF2B5EF4-FFF2-40B4-BE49-F238E27FC236}">
                <a16:creationId xmlns:a16="http://schemas.microsoft.com/office/drawing/2014/main" id="{FCD347F6-6747-4557-A0A4-8A33407E5282}"/>
              </a:ext>
            </a:extLst>
          </p:cNvPr>
          <p:cNvSpPr>
            <a:spLocks noGrp="1"/>
          </p:cNvSpPr>
          <p:nvPr>
            <p:ph type="body" sz="quarter" idx="29" hasCustomPrompt="1"/>
          </p:nvPr>
        </p:nvSpPr>
        <p:spPr>
          <a:xfrm>
            <a:off x="4276628"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6" name="Text Placeholder 27">
            <a:extLst>
              <a:ext uri="{FF2B5EF4-FFF2-40B4-BE49-F238E27FC236}">
                <a16:creationId xmlns:a16="http://schemas.microsoft.com/office/drawing/2014/main" id="{DF242684-9C00-422E-863D-391CFCE36544}"/>
              </a:ext>
            </a:extLst>
          </p:cNvPr>
          <p:cNvSpPr>
            <a:spLocks noGrp="1"/>
          </p:cNvSpPr>
          <p:nvPr>
            <p:ph type="body" sz="quarter" idx="31" hasCustomPrompt="1"/>
          </p:nvPr>
        </p:nvSpPr>
        <p:spPr>
          <a:xfrm>
            <a:off x="8162731"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cxnSp>
        <p:nvCxnSpPr>
          <p:cNvPr id="39" name="Straight Connector 38">
            <a:extLst>
              <a:ext uri="{FF2B5EF4-FFF2-40B4-BE49-F238E27FC236}">
                <a16:creationId xmlns:a16="http://schemas.microsoft.com/office/drawing/2014/main" id="{9830C5ED-908B-4BB8-9F71-93DF39944B99}"/>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0">
            <a:extLst>
              <a:ext uri="{FF2B5EF4-FFF2-40B4-BE49-F238E27FC236}">
                <a16:creationId xmlns:a16="http://schemas.microsoft.com/office/drawing/2014/main" id="{56DB3A4D-4E00-4FB2-86BE-F7227E03641D}"/>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9" name="Text Placeholder 2">
            <a:extLst>
              <a:ext uri="{FF2B5EF4-FFF2-40B4-BE49-F238E27FC236}">
                <a16:creationId xmlns:a16="http://schemas.microsoft.com/office/drawing/2014/main" id="{488D2A12-05B0-4CF7-B940-8931137122B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22" name="TextBox 7">
            <a:extLst>
              <a:ext uri="{FF2B5EF4-FFF2-40B4-BE49-F238E27FC236}">
                <a16:creationId xmlns:a16="http://schemas.microsoft.com/office/drawing/2014/main" id="{7F8AE6C8-D4BF-4C42-9430-223CEA81EC41}"/>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779742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items with image diamond">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62ECC6F-F329-4894-B30C-9DDF87D4C6B0}"/>
              </a:ext>
            </a:extLst>
          </p:cNvPr>
          <p:cNvSpPr>
            <a:spLocks noGrp="1"/>
          </p:cNvSpPr>
          <p:nvPr>
            <p:ph type="pic" sz="quarter" idx="10"/>
          </p:nvPr>
        </p:nvSpPr>
        <p:spPr>
          <a:xfrm>
            <a:off x="4995728" y="1654784"/>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dirty="0"/>
          </a:p>
        </p:txBody>
      </p:sp>
      <p:sp>
        <p:nvSpPr>
          <p:cNvPr id="18" name="Picture Placeholder 17">
            <a:extLst>
              <a:ext uri="{FF2B5EF4-FFF2-40B4-BE49-F238E27FC236}">
                <a16:creationId xmlns:a16="http://schemas.microsoft.com/office/drawing/2014/main" id="{8A961995-D4ED-4EA2-BDF8-2F805F6EDE8F}"/>
              </a:ext>
            </a:extLst>
          </p:cNvPr>
          <p:cNvSpPr>
            <a:spLocks noGrp="1"/>
          </p:cNvSpPr>
          <p:nvPr>
            <p:ph type="pic" sz="quarter" idx="11"/>
          </p:nvPr>
        </p:nvSpPr>
        <p:spPr>
          <a:xfrm>
            <a:off x="3845353"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19" name="Picture Placeholder 18">
            <a:extLst>
              <a:ext uri="{FF2B5EF4-FFF2-40B4-BE49-F238E27FC236}">
                <a16:creationId xmlns:a16="http://schemas.microsoft.com/office/drawing/2014/main" id="{6C31DF17-C531-4C0B-A8D1-30EC2E698BEB}"/>
              </a:ext>
            </a:extLst>
          </p:cNvPr>
          <p:cNvSpPr>
            <a:spLocks noGrp="1"/>
          </p:cNvSpPr>
          <p:nvPr>
            <p:ph type="pic" sz="quarter" idx="12"/>
          </p:nvPr>
        </p:nvSpPr>
        <p:spPr>
          <a:xfrm>
            <a:off x="6142655"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20" name="Picture Placeholder 19">
            <a:extLst>
              <a:ext uri="{FF2B5EF4-FFF2-40B4-BE49-F238E27FC236}">
                <a16:creationId xmlns:a16="http://schemas.microsoft.com/office/drawing/2014/main" id="{293F6089-7C17-41CF-98EF-CCF55D2C537C}"/>
              </a:ext>
            </a:extLst>
          </p:cNvPr>
          <p:cNvSpPr>
            <a:spLocks noGrp="1"/>
          </p:cNvSpPr>
          <p:nvPr>
            <p:ph type="pic" sz="quarter" idx="13"/>
          </p:nvPr>
        </p:nvSpPr>
        <p:spPr>
          <a:xfrm>
            <a:off x="4995728" y="3951512"/>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9" name="Text Placeholder 27">
            <a:extLst>
              <a:ext uri="{FF2B5EF4-FFF2-40B4-BE49-F238E27FC236}">
                <a16:creationId xmlns:a16="http://schemas.microsoft.com/office/drawing/2014/main" id="{6F31F507-3EE3-4E74-A3B3-829544666D5B}"/>
              </a:ext>
            </a:extLst>
          </p:cNvPr>
          <p:cNvSpPr>
            <a:spLocks noGrp="1"/>
          </p:cNvSpPr>
          <p:nvPr>
            <p:ph type="body" sz="quarter" idx="17" hasCustomPrompt="1"/>
          </p:nvPr>
        </p:nvSpPr>
        <p:spPr>
          <a:xfrm>
            <a:off x="390525" y="1786247"/>
            <a:ext cx="3200400" cy="1645920"/>
          </a:xfrm>
          <a:prstGeom prst="rect">
            <a:avLst/>
          </a:prstGeom>
        </p:spPr>
        <p:txBody>
          <a:bodyPr>
            <a:normAutofit/>
          </a:bodyPr>
          <a:lstStyle>
            <a:lvl1pPr marL="0" indent="0" algn="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0" name="Text Placeholder 27">
            <a:extLst>
              <a:ext uri="{FF2B5EF4-FFF2-40B4-BE49-F238E27FC236}">
                <a16:creationId xmlns:a16="http://schemas.microsoft.com/office/drawing/2014/main" id="{859FA3BB-CF44-4802-9948-D8B7CE113AED}"/>
              </a:ext>
            </a:extLst>
          </p:cNvPr>
          <p:cNvSpPr>
            <a:spLocks noGrp="1"/>
          </p:cNvSpPr>
          <p:nvPr>
            <p:ph type="body" sz="quarter" idx="18" hasCustomPrompt="1"/>
          </p:nvPr>
        </p:nvSpPr>
        <p:spPr>
          <a:xfrm>
            <a:off x="390525" y="3809450"/>
            <a:ext cx="3200400" cy="1645920"/>
          </a:xfrm>
          <a:prstGeom prst="rect">
            <a:avLst/>
          </a:prstGeom>
        </p:spPr>
        <p:txBody>
          <a:bodyPr>
            <a:normAutofit/>
          </a:bodyPr>
          <a:lstStyle>
            <a:lvl1pPr marL="0" indent="0" algn="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1" name="Text Placeholder 27">
            <a:extLst>
              <a:ext uri="{FF2B5EF4-FFF2-40B4-BE49-F238E27FC236}">
                <a16:creationId xmlns:a16="http://schemas.microsoft.com/office/drawing/2014/main" id="{E2A970B0-BEBC-40E3-96D3-D0403411ADAD}"/>
              </a:ext>
            </a:extLst>
          </p:cNvPr>
          <p:cNvSpPr>
            <a:spLocks noGrp="1"/>
          </p:cNvSpPr>
          <p:nvPr>
            <p:ph type="body" sz="quarter" idx="19" hasCustomPrompt="1"/>
          </p:nvPr>
        </p:nvSpPr>
        <p:spPr>
          <a:xfrm>
            <a:off x="8601075" y="1786247"/>
            <a:ext cx="3200400" cy="1645920"/>
          </a:xfrm>
          <a:prstGeom prst="rect">
            <a:avLst/>
          </a:prstGeom>
        </p:spPr>
        <p:txBody>
          <a:bodyPr>
            <a:normAutofit/>
          </a:bodyPr>
          <a:lstStyle>
            <a:lvl1pPr marL="0" indent="0" algn="l">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2" name="Text Placeholder 27">
            <a:extLst>
              <a:ext uri="{FF2B5EF4-FFF2-40B4-BE49-F238E27FC236}">
                <a16:creationId xmlns:a16="http://schemas.microsoft.com/office/drawing/2014/main" id="{EF807731-E598-4EFB-BF1E-35A41D6EC435}"/>
              </a:ext>
            </a:extLst>
          </p:cNvPr>
          <p:cNvSpPr>
            <a:spLocks noGrp="1"/>
          </p:cNvSpPr>
          <p:nvPr>
            <p:ph type="body" sz="quarter" idx="20" hasCustomPrompt="1"/>
          </p:nvPr>
        </p:nvSpPr>
        <p:spPr>
          <a:xfrm>
            <a:off x="8601075" y="3809450"/>
            <a:ext cx="3200400" cy="1645920"/>
          </a:xfrm>
          <a:prstGeom prst="rect">
            <a:avLst/>
          </a:prstGeom>
        </p:spPr>
        <p:txBody>
          <a:bodyPr>
            <a:normAutofit/>
          </a:bodyPr>
          <a:lstStyle>
            <a:lvl1pPr marL="0" indent="0" algn="l">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cxnSp>
        <p:nvCxnSpPr>
          <p:cNvPr id="23" name="Straight Connector 22">
            <a:extLst>
              <a:ext uri="{FF2B5EF4-FFF2-40B4-BE49-F238E27FC236}">
                <a16:creationId xmlns:a16="http://schemas.microsoft.com/office/drawing/2014/main" id="{EB9EBF97-CEAA-4220-9079-D063F58B2A8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E7A52793-7004-4A92-8A39-44AE2E29582C}"/>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F6464A6C-F694-4A07-A7AF-B33C19CA4120}"/>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5" name="TextBox 7">
            <a:extLst>
              <a:ext uri="{FF2B5EF4-FFF2-40B4-BE49-F238E27FC236}">
                <a16:creationId xmlns:a16="http://schemas.microsoft.com/office/drawing/2014/main" id="{2B4D0890-7238-4F16-87D5-4DCCE7EE2772}"/>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417085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599242B-DEAB-4348-B5A9-CB4B425A43EB}"/>
              </a:ext>
            </a:extLst>
          </p:cNvPr>
          <p:cNvSpPr/>
          <p:nvPr userDrawn="1"/>
        </p:nvSpPr>
        <p:spPr>
          <a:xfrm>
            <a:off x="0" y="0"/>
            <a:ext cx="12192000" cy="6858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101">
            <a:extLst>
              <a:ext uri="{FF2B5EF4-FFF2-40B4-BE49-F238E27FC236}">
                <a16:creationId xmlns:a16="http://schemas.microsoft.com/office/drawing/2014/main" id="{09643811-0C74-4A01-BA81-61628ED0CD89}"/>
              </a:ext>
            </a:extLst>
          </p:cNvPr>
          <p:cNvSpPr>
            <a:spLocks noGrp="1"/>
          </p:cNvSpPr>
          <p:nvPr>
            <p:ph type="pic" sz="quarter" idx="10"/>
          </p:nvPr>
        </p:nvSpPr>
        <p:spPr>
          <a:xfrm>
            <a:off x="2451038" y="0"/>
            <a:ext cx="9740963" cy="6858000"/>
          </a:xfrm>
          <a:custGeom>
            <a:avLst/>
            <a:gdLst>
              <a:gd name="connsiteX0" fmla="*/ 981316 w 9740963"/>
              <a:gd name="connsiteY0" fmla="*/ 5930787 h 6858000"/>
              <a:gd name="connsiteX1" fmla="*/ 1117507 w 9740963"/>
              <a:gd name="connsiteY1" fmla="*/ 6066978 h 6858000"/>
              <a:gd name="connsiteX2" fmla="*/ 1117507 w 9740963"/>
              <a:gd name="connsiteY2" fmla="*/ 6066979 h 6858000"/>
              <a:gd name="connsiteX3" fmla="*/ 1117507 w 9740963"/>
              <a:gd name="connsiteY3" fmla="*/ 6858000 h 6858000"/>
              <a:gd name="connsiteX4" fmla="*/ 0 w 9740963"/>
              <a:gd name="connsiteY4" fmla="*/ 6858000 h 6858000"/>
              <a:gd name="connsiteX5" fmla="*/ 892104 w 9740963"/>
              <a:gd name="connsiteY5" fmla="*/ 5965897 h 6858000"/>
              <a:gd name="connsiteX6" fmla="*/ 928305 w 9740963"/>
              <a:gd name="connsiteY6" fmla="*/ 5941490 h 6858000"/>
              <a:gd name="connsiteX7" fmla="*/ 981316 w 9740963"/>
              <a:gd name="connsiteY7" fmla="*/ 5930787 h 6858000"/>
              <a:gd name="connsiteX8" fmla="*/ 9583907 w 9740963"/>
              <a:gd name="connsiteY8" fmla="*/ 5514803 h 6858000"/>
              <a:gd name="connsiteX9" fmla="*/ 9740963 w 9740963"/>
              <a:gd name="connsiteY9" fmla="*/ 5514803 h 6858000"/>
              <a:gd name="connsiteX10" fmla="*/ 9740963 w 9740963"/>
              <a:gd name="connsiteY10" fmla="*/ 6004147 h 6858000"/>
              <a:gd name="connsiteX11" fmla="*/ 9490281 w 9740963"/>
              <a:gd name="connsiteY11" fmla="*/ 5753466 h 6858000"/>
              <a:gd name="connsiteX12" fmla="*/ 9490279 w 9740963"/>
              <a:gd name="connsiteY12" fmla="*/ 5753464 h 6858000"/>
              <a:gd name="connsiteX13" fmla="*/ 9470329 w 9740963"/>
              <a:gd name="connsiteY13" fmla="*/ 5733515 h 6858000"/>
              <a:gd name="connsiteX14" fmla="*/ 9449177 w 9740963"/>
              <a:gd name="connsiteY14" fmla="*/ 5702140 h 6858000"/>
              <a:gd name="connsiteX15" fmla="*/ 9438473 w 9740963"/>
              <a:gd name="connsiteY15" fmla="*/ 5649129 h 6858000"/>
              <a:gd name="connsiteX16" fmla="*/ 9521653 w 9740963"/>
              <a:gd name="connsiteY16" fmla="*/ 5523641 h 6858000"/>
              <a:gd name="connsiteX17" fmla="*/ 9565421 w 9740963"/>
              <a:gd name="connsiteY17" fmla="*/ 5514804 h 6858000"/>
              <a:gd name="connsiteX18" fmla="*/ 9583907 w 9740963"/>
              <a:gd name="connsiteY18" fmla="*/ 5514804 h 6858000"/>
              <a:gd name="connsiteX19" fmla="*/ 9014977 w 9740963"/>
              <a:gd name="connsiteY19" fmla="*/ 5514803 h 6858000"/>
              <a:gd name="connsiteX20" fmla="*/ 9067989 w 9740963"/>
              <a:gd name="connsiteY20" fmla="*/ 5525506 h 6858000"/>
              <a:gd name="connsiteX21" fmla="*/ 9104189 w 9740963"/>
              <a:gd name="connsiteY21" fmla="*/ 5549913 h 6858000"/>
              <a:gd name="connsiteX22" fmla="*/ 9740963 w 9740963"/>
              <a:gd name="connsiteY22" fmla="*/ 6186687 h 6858000"/>
              <a:gd name="connsiteX23" fmla="*/ 9740963 w 9740963"/>
              <a:gd name="connsiteY23" fmla="*/ 6858000 h 6858000"/>
              <a:gd name="connsiteX24" fmla="*/ 8878787 w 9740963"/>
              <a:gd name="connsiteY24" fmla="*/ 6858000 h 6858000"/>
              <a:gd name="connsiteX25" fmla="*/ 8878787 w 9740963"/>
              <a:gd name="connsiteY25" fmla="*/ 5650995 h 6858000"/>
              <a:gd name="connsiteX26" fmla="*/ 8878787 w 9740963"/>
              <a:gd name="connsiteY26" fmla="*/ 5650994 h 6858000"/>
              <a:gd name="connsiteX27" fmla="*/ 9014977 w 9740963"/>
              <a:gd name="connsiteY27" fmla="*/ 5514803 h 6858000"/>
              <a:gd name="connsiteX28" fmla="*/ 8615441 w 9740963"/>
              <a:gd name="connsiteY28" fmla="*/ 5514803 h 6858000"/>
              <a:gd name="connsiteX29" fmla="*/ 8751631 w 9740963"/>
              <a:gd name="connsiteY29" fmla="*/ 5650994 h 6858000"/>
              <a:gd name="connsiteX30" fmla="*/ 8751631 w 9740963"/>
              <a:gd name="connsiteY30" fmla="*/ 5650995 h 6858000"/>
              <a:gd name="connsiteX31" fmla="*/ 8751631 w 9740963"/>
              <a:gd name="connsiteY31" fmla="*/ 6858000 h 6858000"/>
              <a:gd name="connsiteX32" fmla="*/ 7218142 w 9740963"/>
              <a:gd name="connsiteY32" fmla="*/ 6858000 h 6858000"/>
              <a:gd name="connsiteX33" fmla="*/ 8526229 w 9740963"/>
              <a:gd name="connsiteY33" fmla="*/ 5549913 h 6858000"/>
              <a:gd name="connsiteX34" fmla="*/ 8562429 w 9740963"/>
              <a:gd name="connsiteY34" fmla="*/ 5525506 h 6858000"/>
              <a:gd name="connsiteX35" fmla="*/ 8615441 w 9740963"/>
              <a:gd name="connsiteY35" fmla="*/ 5514803 h 6858000"/>
              <a:gd name="connsiteX36" fmla="*/ 6477647 w 9740963"/>
              <a:gd name="connsiteY36" fmla="*/ 5514803 h 6858000"/>
              <a:gd name="connsiteX37" fmla="*/ 8046511 w 9740963"/>
              <a:gd name="connsiteY37" fmla="*/ 5514803 h 6858000"/>
              <a:gd name="connsiteX38" fmla="*/ 8046511 w 9740963"/>
              <a:gd name="connsiteY38" fmla="*/ 5514804 h 6858000"/>
              <a:gd name="connsiteX39" fmla="*/ 8064997 w 9740963"/>
              <a:gd name="connsiteY39" fmla="*/ 5514804 h 6858000"/>
              <a:gd name="connsiteX40" fmla="*/ 8108765 w 9740963"/>
              <a:gd name="connsiteY40" fmla="*/ 5523641 h 6858000"/>
              <a:gd name="connsiteX41" fmla="*/ 8191945 w 9740963"/>
              <a:gd name="connsiteY41" fmla="*/ 5649129 h 6858000"/>
              <a:gd name="connsiteX42" fmla="*/ 8181241 w 9740963"/>
              <a:gd name="connsiteY42" fmla="*/ 5702140 h 6858000"/>
              <a:gd name="connsiteX43" fmla="*/ 8160089 w 9740963"/>
              <a:gd name="connsiteY43" fmla="*/ 5733515 h 6858000"/>
              <a:gd name="connsiteX44" fmla="*/ 8140139 w 9740963"/>
              <a:gd name="connsiteY44" fmla="*/ 5753464 h 6858000"/>
              <a:gd name="connsiteX45" fmla="*/ 8140137 w 9740963"/>
              <a:gd name="connsiteY45" fmla="*/ 5753466 h 6858000"/>
              <a:gd name="connsiteX46" fmla="*/ 7035602 w 9740963"/>
              <a:gd name="connsiteY46" fmla="*/ 6858000 h 6858000"/>
              <a:gd name="connsiteX47" fmla="*/ 6334079 w 9740963"/>
              <a:gd name="connsiteY47" fmla="*/ 6858000 h 6858000"/>
              <a:gd name="connsiteX48" fmla="*/ 6334079 w 9740963"/>
              <a:gd name="connsiteY48" fmla="*/ 5658368 h 6858000"/>
              <a:gd name="connsiteX49" fmla="*/ 6334079 w 9740963"/>
              <a:gd name="connsiteY49" fmla="*/ 5658367 h 6858000"/>
              <a:gd name="connsiteX50" fmla="*/ 6334079 w 9740963"/>
              <a:gd name="connsiteY50" fmla="*/ 5639889 h 6858000"/>
              <a:gd name="connsiteX51" fmla="*/ 6342917 w 9740963"/>
              <a:gd name="connsiteY51" fmla="*/ 5596117 h 6858000"/>
              <a:gd name="connsiteX52" fmla="*/ 6415393 w 9740963"/>
              <a:gd name="connsiteY52" fmla="*/ 5523641 h 6858000"/>
              <a:gd name="connsiteX53" fmla="*/ 6459161 w 9740963"/>
              <a:gd name="connsiteY53" fmla="*/ 5514804 h 6858000"/>
              <a:gd name="connsiteX54" fmla="*/ 4494492 w 9740963"/>
              <a:gd name="connsiteY54" fmla="*/ 5514803 h 6858000"/>
              <a:gd name="connsiteX55" fmla="*/ 6063355 w 9740963"/>
              <a:gd name="connsiteY55" fmla="*/ 5514803 h 6858000"/>
              <a:gd name="connsiteX56" fmla="*/ 6081841 w 9740963"/>
              <a:gd name="connsiteY56" fmla="*/ 5514804 h 6858000"/>
              <a:gd name="connsiteX57" fmla="*/ 6125609 w 9740963"/>
              <a:gd name="connsiteY57" fmla="*/ 5523641 h 6858000"/>
              <a:gd name="connsiteX58" fmla="*/ 6198085 w 9740963"/>
              <a:gd name="connsiteY58" fmla="*/ 5596117 h 6858000"/>
              <a:gd name="connsiteX59" fmla="*/ 6206923 w 9740963"/>
              <a:gd name="connsiteY59" fmla="*/ 5639889 h 6858000"/>
              <a:gd name="connsiteX60" fmla="*/ 6206923 w 9740963"/>
              <a:gd name="connsiteY60" fmla="*/ 5658367 h 6858000"/>
              <a:gd name="connsiteX61" fmla="*/ 6206923 w 9740963"/>
              <a:gd name="connsiteY61" fmla="*/ 5658368 h 6858000"/>
              <a:gd name="connsiteX62" fmla="*/ 6206923 w 9740963"/>
              <a:gd name="connsiteY62" fmla="*/ 6858000 h 6858000"/>
              <a:gd name="connsiteX63" fmla="*/ 5505401 w 9740963"/>
              <a:gd name="connsiteY63" fmla="*/ 6858000 h 6858000"/>
              <a:gd name="connsiteX64" fmla="*/ 4400866 w 9740963"/>
              <a:gd name="connsiteY64" fmla="*/ 5753466 h 6858000"/>
              <a:gd name="connsiteX65" fmla="*/ 4400863 w 9740963"/>
              <a:gd name="connsiteY65" fmla="*/ 5753464 h 6858000"/>
              <a:gd name="connsiteX66" fmla="*/ 4380913 w 9740963"/>
              <a:gd name="connsiteY66" fmla="*/ 5733515 h 6858000"/>
              <a:gd name="connsiteX67" fmla="*/ 4359762 w 9740963"/>
              <a:gd name="connsiteY67" fmla="*/ 5702140 h 6858000"/>
              <a:gd name="connsiteX68" fmla="*/ 4349058 w 9740963"/>
              <a:gd name="connsiteY68" fmla="*/ 5649129 h 6858000"/>
              <a:gd name="connsiteX69" fmla="*/ 4432238 w 9740963"/>
              <a:gd name="connsiteY69" fmla="*/ 5523641 h 6858000"/>
              <a:gd name="connsiteX70" fmla="*/ 4476005 w 9740963"/>
              <a:gd name="connsiteY70" fmla="*/ 5514804 h 6858000"/>
              <a:gd name="connsiteX71" fmla="*/ 4494492 w 9740963"/>
              <a:gd name="connsiteY71" fmla="*/ 5514804 h 6858000"/>
              <a:gd name="connsiteX72" fmla="*/ 3925562 w 9740963"/>
              <a:gd name="connsiteY72" fmla="*/ 5514803 h 6858000"/>
              <a:gd name="connsiteX73" fmla="*/ 3978574 w 9740963"/>
              <a:gd name="connsiteY73" fmla="*/ 5525506 h 6858000"/>
              <a:gd name="connsiteX74" fmla="*/ 4014774 w 9740963"/>
              <a:gd name="connsiteY74" fmla="*/ 5549913 h 6858000"/>
              <a:gd name="connsiteX75" fmla="*/ 5322861 w 9740963"/>
              <a:gd name="connsiteY75" fmla="*/ 6858000 h 6858000"/>
              <a:gd name="connsiteX76" fmla="*/ 3789371 w 9740963"/>
              <a:gd name="connsiteY76" fmla="*/ 6858000 h 6858000"/>
              <a:gd name="connsiteX77" fmla="*/ 3789371 w 9740963"/>
              <a:gd name="connsiteY77" fmla="*/ 5650995 h 6858000"/>
              <a:gd name="connsiteX78" fmla="*/ 3789371 w 9740963"/>
              <a:gd name="connsiteY78" fmla="*/ 5650994 h 6858000"/>
              <a:gd name="connsiteX79" fmla="*/ 3925562 w 9740963"/>
              <a:gd name="connsiteY79" fmla="*/ 5514803 h 6858000"/>
              <a:gd name="connsiteX80" fmla="*/ 3526025 w 9740963"/>
              <a:gd name="connsiteY80" fmla="*/ 5514803 h 6858000"/>
              <a:gd name="connsiteX81" fmla="*/ 3662216 w 9740963"/>
              <a:gd name="connsiteY81" fmla="*/ 5650994 h 6858000"/>
              <a:gd name="connsiteX82" fmla="*/ 3662216 w 9740963"/>
              <a:gd name="connsiteY82" fmla="*/ 5650995 h 6858000"/>
              <a:gd name="connsiteX83" fmla="*/ 3662216 w 9740963"/>
              <a:gd name="connsiteY83" fmla="*/ 6858000 h 6858000"/>
              <a:gd name="connsiteX84" fmla="*/ 2128725 w 9740963"/>
              <a:gd name="connsiteY84" fmla="*/ 6858000 h 6858000"/>
              <a:gd name="connsiteX85" fmla="*/ 3436813 w 9740963"/>
              <a:gd name="connsiteY85" fmla="*/ 5549913 h 6858000"/>
              <a:gd name="connsiteX86" fmla="*/ 3473013 w 9740963"/>
              <a:gd name="connsiteY86" fmla="*/ 5525506 h 6858000"/>
              <a:gd name="connsiteX87" fmla="*/ 3526025 w 9740963"/>
              <a:gd name="connsiteY87" fmla="*/ 5514803 h 6858000"/>
              <a:gd name="connsiteX88" fmla="*/ 1388232 w 9740963"/>
              <a:gd name="connsiteY88" fmla="*/ 5514803 h 6858000"/>
              <a:gd name="connsiteX89" fmla="*/ 2957095 w 9740963"/>
              <a:gd name="connsiteY89" fmla="*/ 5514803 h 6858000"/>
              <a:gd name="connsiteX90" fmla="*/ 2957095 w 9740963"/>
              <a:gd name="connsiteY90" fmla="*/ 5514804 h 6858000"/>
              <a:gd name="connsiteX91" fmla="*/ 2975581 w 9740963"/>
              <a:gd name="connsiteY91" fmla="*/ 5514804 h 6858000"/>
              <a:gd name="connsiteX92" fmla="*/ 3019349 w 9740963"/>
              <a:gd name="connsiteY92" fmla="*/ 5523641 h 6858000"/>
              <a:gd name="connsiteX93" fmla="*/ 3102529 w 9740963"/>
              <a:gd name="connsiteY93" fmla="*/ 5649129 h 6858000"/>
              <a:gd name="connsiteX94" fmla="*/ 3091826 w 9740963"/>
              <a:gd name="connsiteY94" fmla="*/ 5702140 h 6858000"/>
              <a:gd name="connsiteX95" fmla="*/ 3070674 w 9740963"/>
              <a:gd name="connsiteY95" fmla="*/ 5733515 h 6858000"/>
              <a:gd name="connsiteX96" fmla="*/ 3050724 w 9740963"/>
              <a:gd name="connsiteY96" fmla="*/ 5753464 h 6858000"/>
              <a:gd name="connsiteX97" fmla="*/ 3050722 w 9740963"/>
              <a:gd name="connsiteY97" fmla="*/ 5753466 h 6858000"/>
              <a:gd name="connsiteX98" fmla="*/ 1946187 w 9740963"/>
              <a:gd name="connsiteY98" fmla="*/ 6858000 h 6858000"/>
              <a:gd name="connsiteX99" fmla="*/ 1244663 w 9740963"/>
              <a:gd name="connsiteY99" fmla="*/ 6858000 h 6858000"/>
              <a:gd name="connsiteX100" fmla="*/ 1244663 w 9740963"/>
              <a:gd name="connsiteY100" fmla="*/ 5658367 h 6858000"/>
              <a:gd name="connsiteX101" fmla="*/ 1244664 w 9740963"/>
              <a:gd name="connsiteY101" fmla="*/ 5658368 h 6858000"/>
              <a:gd name="connsiteX102" fmla="*/ 1244664 w 9740963"/>
              <a:gd name="connsiteY102" fmla="*/ 5639889 h 6858000"/>
              <a:gd name="connsiteX103" fmla="*/ 1253501 w 9740963"/>
              <a:gd name="connsiteY103" fmla="*/ 5596117 h 6858000"/>
              <a:gd name="connsiteX104" fmla="*/ 1325978 w 9740963"/>
              <a:gd name="connsiteY104" fmla="*/ 5523641 h 6858000"/>
              <a:gd name="connsiteX105" fmla="*/ 1369746 w 9740963"/>
              <a:gd name="connsiteY105" fmla="*/ 5514804 h 6858000"/>
              <a:gd name="connsiteX106" fmla="*/ 9583907 w 9740963"/>
              <a:gd name="connsiteY106" fmla="*/ 3506125 h 6858000"/>
              <a:gd name="connsiteX107" fmla="*/ 9740963 w 9740963"/>
              <a:gd name="connsiteY107" fmla="*/ 3506125 h 6858000"/>
              <a:gd name="connsiteX108" fmla="*/ 9740963 w 9740963"/>
              <a:gd name="connsiteY108" fmla="*/ 3995469 h 6858000"/>
              <a:gd name="connsiteX109" fmla="*/ 9490281 w 9740963"/>
              <a:gd name="connsiteY109" fmla="*/ 3744788 h 6858000"/>
              <a:gd name="connsiteX110" fmla="*/ 9490279 w 9740963"/>
              <a:gd name="connsiteY110" fmla="*/ 3744786 h 6858000"/>
              <a:gd name="connsiteX111" fmla="*/ 9470329 w 9740963"/>
              <a:gd name="connsiteY111" fmla="*/ 3724837 h 6858000"/>
              <a:gd name="connsiteX112" fmla="*/ 9449177 w 9740963"/>
              <a:gd name="connsiteY112" fmla="*/ 3693462 h 6858000"/>
              <a:gd name="connsiteX113" fmla="*/ 9438473 w 9740963"/>
              <a:gd name="connsiteY113" fmla="*/ 3640451 h 6858000"/>
              <a:gd name="connsiteX114" fmla="*/ 9521653 w 9740963"/>
              <a:gd name="connsiteY114" fmla="*/ 3514963 h 6858000"/>
              <a:gd name="connsiteX115" fmla="*/ 9565421 w 9740963"/>
              <a:gd name="connsiteY115" fmla="*/ 3506126 h 6858000"/>
              <a:gd name="connsiteX116" fmla="*/ 9583907 w 9740963"/>
              <a:gd name="connsiteY116" fmla="*/ 3506126 h 6858000"/>
              <a:gd name="connsiteX117" fmla="*/ 9014977 w 9740963"/>
              <a:gd name="connsiteY117" fmla="*/ 3506125 h 6858000"/>
              <a:gd name="connsiteX118" fmla="*/ 9067989 w 9740963"/>
              <a:gd name="connsiteY118" fmla="*/ 3516828 h 6858000"/>
              <a:gd name="connsiteX119" fmla="*/ 9104189 w 9740963"/>
              <a:gd name="connsiteY119" fmla="*/ 3541235 h 6858000"/>
              <a:gd name="connsiteX120" fmla="*/ 9740963 w 9740963"/>
              <a:gd name="connsiteY120" fmla="*/ 4178008 h 6858000"/>
              <a:gd name="connsiteX121" fmla="*/ 9740963 w 9740963"/>
              <a:gd name="connsiteY121" fmla="*/ 5360553 h 6858000"/>
              <a:gd name="connsiteX122" fmla="*/ 9022355 w 9740963"/>
              <a:gd name="connsiteY122" fmla="*/ 5360553 h 6858000"/>
              <a:gd name="connsiteX123" fmla="*/ 9003869 w 9740963"/>
              <a:gd name="connsiteY123" fmla="*/ 5360552 h 6858000"/>
              <a:gd name="connsiteX124" fmla="*/ 8960101 w 9740963"/>
              <a:gd name="connsiteY124" fmla="*/ 5351716 h 6858000"/>
              <a:gd name="connsiteX125" fmla="*/ 8887625 w 9740963"/>
              <a:gd name="connsiteY125" fmla="*/ 5279239 h 6858000"/>
              <a:gd name="connsiteX126" fmla="*/ 8878787 w 9740963"/>
              <a:gd name="connsiteY126" fmla="*/ 5235467 h 6858000"/>
              <a:gd name="connsiteX127" fmla="*/ 8878787 w 9740963"/>
              <a:gd name="connsiteY127" fmla="*/ 5216989 h 6858000"/>
              <a:gd name="connsiteX128" fmla="*/ 8878787 w 9740963"/>
              <a:gd name="connsiteY128" fmla="*/ 5216988 h 6858000"/>
              <a:gd name="connsiteX129" fmla="*/ 8878787 w 9740963"/>
              <a:gd name="connsiteY129" fmla="*/ 3642317 h 6858000"/>
              <a:gd name="connsiteX130" fmla="*/ 8878787 w 9740963"/>
              <a:gd name="connsiteY130" fmla="*/ 3642316 h 6858000"/>
              <a:gd name="connsiteX131" fmla="*/ 9014977 w 9740963"/>
              <a:gd name="connsiteY131" fmla="*/ 3506125 h 6858000"/>
              <a:gd name="connsiteX132" fmla="*/ 8615441 w 9740963"/>
              <a:gd name="connsiteY132" fmla="*/ 3506125 h 6858000"/>
              <a:gd name="connsiteX133" fmla="*/ 8751631 w 9740963"/>
              <a:gd name="connsiteY133" fmla="*/ 3642316 h 6858000"/>
              <a:gd name="connsiteX134" fmla="*/ 8751631 w 9740963"/>
              <a:gd name="connsiteY134" fmla="*/ 3642317 h 6858000"/>
              <a:gd name="connsiteX135" fmla="*/ 8751631 w 9740963"/>
              <a:gd name="connsiteY135" fmla="*/ 5216988 h 6858000"/>
              <a:gd name="connsiteX136" fmla="*/ 8751631 w 9740963"/>
              <a:gd name="connsiteY136" fmla="*/ 5216989 h 6858000"/>
              <a:gd name="connsiteX137" fmla="*/ 8751631 w 9740963"/>
              <a:gd name="connsiteY137" fmla="*/ 5235467 h 6858000"/>
              <a:gd name="connsiteX138" fmla="*/ 8742793 w 9740963"/>
              <a:gd name="connsiteY138" fmla="*/ 5279239 h 6858000"/>
              <a:gd name="connsiteX139" fmla="*/ 8670317 w 9740963"/>
              <a:gd name="connsiteY139" fmla="*/ 5351716 h 6858000"/>
              <a:gd name="connsiteX140" fmla="*/ 8626549 w 9740963"/>
              <a:gd name="connsiteY140" fmla="*/ 5360552 h 6858000"/>
              <a:gd name="connsiteX141" fmla="*/ 8608063 w 9740963"/>
              <a:gd name="connsiteY141" fmla="*/ 5360553 h 6858000"/>
              <a:gd name="connsiteX142" fmla="*/ 7039199 w 9740963"/>
              <a:gd name="connsiteY142" fmla="*/ 5360553 h 6858000"/>
              <a:gd name="connsiteX143" fmla="*/ 7039199 w 9740963"/>
              <a:gd name="connsiteY143" fmla="*/ 5360552 h 6858000"/>
              <a:gd name="connsiteX144" fmla="*/ 7020713 w 9740963"/>
              <a:gd name="connsiteY144" fmla="*/ 5360552 h 6858000"/>
              <a:gd name="connsiteX145" fmla="*/ 6976945 w 9740963"/>
              <a:gd name="connsiteY145" fmla="*/ 5351716 h 6858000"/>
              <a:gd name="connsiteX146" fmla="*/ 6893765 w 9740963"/>
              <a:gd name="connsiteY146" fmla="*/ 5226228 h 6858000"/>
              <a:gd name="connsiteX147" fmla="*/ 6904469 w 9740963"/>
              <a:gd name="connsiteY147" fmla="*/ 5173216 h 6858000"/>
              <a:gd name="connsiteX148" fmla="*/ 6925621 w 9740963"/>
              <a:gd name="connsiteY148" fmla="*/ 5141842 h 6858000"/>
              <a:gd name="connsiteX149" fmla="*/ 6945571 w 9740963"/>
              <a:gd name="connsiteY149" fmla="*/ 5121892 h 6858000"/>
              <a:gd name="connsiteX150" fmla="*/ 6945573 w 9740963"/>
              <a:gd name="connsiteY150" fmla="*/ 5121891 h 6858000"/>
              <a:gd name="connsiteX151" fmla="*/ 8526229 w 9740963"/>
              <a:gd name="connsiteY151" fmla="*/ 3541235 h 6858000"/>
              <a:gd name="connsiteX152" fmla="*/ 8562429 w 9740963"/>
              <a:gd name="connsiteY152" fmla="*/ 3516828 h 6858000"/>
              <a:gd name="connsiteX153" fmla="*/ 8615441 w 9740963"/>
              <a:gd name="connsiteY153" fmla="*/ 3506125 h 6858000"/>
              <a:gd name="connsiteX154" fmla="*/ 6477647 w 9740963"/>
              <a:gd name="connsiteY154" fmla="*/ 3506125 h 6858000"/>
              <a:gd name="connsiteX155" fmla="*/ 8046511 w 9740963"/>
              <a:gd name="connsiteY155" fmla="*/ 3506125 h 6858000"/>
              <a:gd name="connsiteX156" fmla="*/ 8046511 w 9740963"/>
              <a:gd name="connsiteY156" fmla="*/ 3506126 h 6858000"/>
              <a:gd name="connsiteX157" fmla="*/ 8064997 w 9740963"/>
              <a:gd name="connsiteY157" fmla="*/ 3506126 h 6858000"/>
              <a:gd name="connsiteX158" fmla="*/ 8108765 w 9740963"/>
              <a:gd name="connsiteY158" fmla="*/ 3514963 h 6858000"/>
              <a:gd name="connsiteX159" fmla="*/ 8191945 w 9740963"/>
              <a:gd name="connsiteY159" fmla="*/ 3640451 h 6858000"/>
              <a:gd name="connsiteX160" fmla="*/ 8181241 w 9740963"/>
              <a:gd name="connsiteY160" fmla="*/ 3693462 h 6858000"/>
              <a:gd name="connsiteX161" fmla="*/ 8160089 w 9740963"/>
              <a:gd name="connsiteY161" fmla="*/ 3724837 h 6858000"/>
              <a:gd name="connsiteX162" fmla="*/ 8140139 w 9740963"/>
              <a:gd name="connsiteY162" fmla="*/ 3744786 h 6858000"/>
              <a:gd name="connsiteX163" fmla="*/ 8140137 w 9740963"/>
              <a:gd name="connsiteY163" fmla="*/ 3744788 h 6858000"/>
              <a:gd name="connsiteX164" fmla="*/ 6559481 w 9740963"/>
              <a:gd name="connsiteY164" fmla="*/ 5325443 h 6858000"/>
              <a:gd name="connsiteX165" fmla="*/ 6523281 w 9740963"/>
              <a:gd name="connsiteY165" fmla="*/ 5349850 h 6858000"/>
              <a:gd name="connsiteX166" fmla="*/ 6470269 w 9740963"/>
              <a:gd name="connsiteY166" fmla="*/ 5360553 h 6858000"/>
              <a:gd name="connsiteX167" fmla="*/ 6334079 w 9740963"/>
              <a:gd name="connsiteY167" fmla="*/ 5224362 h 6858000"/>
              <a:gd name="connsiteX168" fmla="*/ 6334079 w 9740963"/>
              <a:gd name="connsiteY168" fmla="*/ 3649690 h 6858000"/>
              <a:gd name="connsiteX169" fmla="*/ 6334079 w 9740963"/>
              <a:gd name="connsiteY169" fmla="*/ 3649689 h 6858000"/>
              <a:gd name="connsiteX170" fmla="*/ 6334079 w 9740963"/>
              <a:gd name="connsiteY170" fmla="*/ 3631211 h 6858000"/>
              <a:gd name="connsiteX171" fmla="*/ 6342917 w 9740963"/>
              <a:gd name="connsiteY171" fmla="*/ 3587439 h 6858000"/>
              <a:gd name="connsiteX172" fmla="*/ 6415393 w 9740963"/>
              <a:gd name="connsiteY172" fmla="*/ 3514963 h 6858000"/>
              <a:gd name="connsiteX173" fmla="*/ 6459161 w 9740963"/>
              <a:gd name="connsiteY173" fmla="*/ 3506126 h 6858000"/>
              <a:gd name="connsiteX174" fmla="*/ 4494492 w 9740963"/>
              <a:gd name="connsiteY174" fmla="*/ 3506125 h 6858000"/>
              <a:gd name="connsiteX175" fmla="*/ 6063355 w 9740963"/>
              <a:gd name="connsiteY175" fmla="*/ 3506125 h 6858000"/>
              <a:gd name="connsiteX176" fmla="*/ 6081841 w 9740963"/>
              <a:gd name="connsiteY176" fmla="*/ 3506126 h 6858000"/>
              <a:gd name="connsiteX177" fmla="*/ 6125609 w 9740963"/>
              <a:gd name="connsiteY177" fmla="*/ 3514963 h 6858000"/>
              <a:gd name="connsiteX178" fmla="*/ 6198085 w 9740963"/>
              <a:gd name="connsiteY178" fmla="*/ 3587439 h 6858000"/>
              <a:gd name="connsiteX179" fmla="*/ 6206923 w 9740963"/>
              <a:gd name="connsiteY179" fmla="*/ 3631211 h 6858000"/>
              <a:gd name="connsiteX180" fmla="*/ 6206923 w 9740963"/>
              <a:gd name="connsiteY180" fmla="*/ 3649689 h 6858000"/>
              <a:gd name="connsiteX181" fmla="*/ 6206923 w 9740963"/>
              <a:gd name="connsiteY181" fmla="*/ 3649690 h 6858000"/>
              <a:gd name="connsiteX182" fmla="*/ 6206923 w 9740963"/>
              <a:gd name="connsiteY182" fmla="*/ 5224362 h 6858000"/>
              <a:gd name="connsiteX183" fmla="*/ 6070733 w 9740963"/>
              <a:gd name="connsiteY183" fmla="*/ 5360553 h 6858000"/>
              <a:gd name="connsiteX184" fmla="*/ 6017721 w 9740963"/>
              <a:gd name="connsiteY184" fmla="*/ 5349850 h 6858000"/>
              <a:gd name="connsiteX185" fmla="*/ 5981521 w 9740963"/>
              <a:gd name="connsiteY185" fmla="*/ 5325443 h 6858000"/>
              <a:gd name="connsiteX186" fmla="*/ 4400866 w 9740963"/>
              <a:gd name="connsiteY186" fmla="*/ 3744788 h 6858000"/>
              <a:gd name="connsiteX187" fmla="*/ 4400864 w 9740963"/>
              <a:gd name="connsiteY187" fmla="*/ 3744786 h 6858000"/>
              <a:gd name="connsiteX188" fmla="*/ 4380913 w 9740963"/>
              <a:gd name="connsiteY188" fmla="*/ 3724837 h 6858000"/>
              <a:gd name="connsiteX189" fmla="*/ 4359762 w 9740963"/>
              <a:gd name="connsiteY189" fmla="*/ 3693462 h 6858000"/>
              <a:gd name="connsiteX190" fmla="*/ 4349058 w 9740963"/>
              <a:gd name="connsiteY190" fmla="*/ 3640451 h 6858000"/>
              <a:gd name="connsiteX191" fmla="*/ 4432239 w 9740963"/>
              <a:gd name="connsiteY191" fmla="*/ 3514963 h 6858000"/>
              <a:gd name="connsiteX192" fmla="*/ 4476005 w 9740963"/>
              <a:gd name="connsiteY192" fmla="*/ 3506126 h 6858000"/>
              <a:gd name="connsiteX193" fmla="*/ 4494492 w 9740963"/>
              <a:gd name="connsiteY193" fmla="*/ 3506126 h 6858000"/>
              <a:gd name="connsiteX194" fmla="*/ 3925563 w 9740963"/>
              <a:gd name="connsiteY194" fmla="*/ 3506125 h 6858000"/>
              <a:gd name="connsiteX195" fmla="*/ 3978574 w 9740963"/>
              <a:gd name="connsiteY195" fmla="*/ 3516828 h 6858000"/>
              <a:gd name="connsiteX196" fmla="*/ 4014774 w 9740963"/>
              <a:gd name="connsiteY196" fmla="*/ 3541235 h 6858000"/>
              <a:gd name="connsiteX197" fmla="*/ 5595430 w 9740963"/>
              <a:gd name="connsiteY197" fmla="*/ 5121891 h 6858000"/>
              <a:gd name="connsiteX198" fmla="*/ 5595432 w 9740963"/>
              <a:gd name="connsiteY198" fmla="*/ 5121892 h 6858000"/>
              <a:gd name="connsiteX199" fmla="*/ 5615381 w 9740963"/>
              <a:gd name="connsiteY199" fmla="*/ 5141842 h 6858000"/>
              <a:gd name="connsiteX200" fmla="*/ 5636534 w 9740963"/>
              <a:gd name="connsiteY200" fmla="*/ 5173216 h 6858000"/>
              <a:gd name="connsiteX201" fmla="*/ 5647237 w 9740963"/>
              <a:gd name="connsiteY201" fmla="*/ 5226228 h 6858000"/>
              <a:gd name="connsiteX202" fmla="*/ 5564057 w 9740963"/>
              <a:gd name="connsiteY202" fmla="*/ 5351716 h 6858000"/>
              <a:gd name="connsiteX203" fmla="*/ 5520289 w 9740963"/>
              <a:gd name="connsiteY203" fmla="*/ 5360552 h 6858000"/>
              <a:gd name="connsiteX204" fmla="*/ 5501803 w 9740963"/>
              <a:gd name="connsiteY204" fmla="*/ 5360552 h 6858000"/>
              <a:gd name="connsiteX205" fmla="*/ 5501803 w 9740963"/>
              <a:gd name="connsiteY205" fmla="*/ 5360553 h 6858000"/>
              <a:gd name="connsiteX206" fmla="*/ 3932940 w 9740963"/>
              <a:gd name="connsiteY206" fmla="*/ 5360553 h 6858000"/>
              <a:gd name="connsiteX207" fmla="*/ 3914454 w 9740963"/>
              <a:gd name="connsiteY207" fmla="*/ 5360552 h 6858000"/>
              <a:gd name="connsiteX208" fmla="*/ 3870687 w 9740963"/>
              <a:gd name="connsiteY208" fmla="*/ 5351716 h 6858000"/>
              <a:gd name="connsiteX209" fmla="*/ 3798210 w 9740963"/>
              <a:gd name="connsiteY209" fmla="*/ 5279239 h 6858000"/>
              <a:gd name="connsiteX210" fmla="*/ 3789372 w 9740963"/>
              <a:gd name="connsiteY210" fmla="*/ 5235467 h 6858000"/>
              <a:gd name="connsiteX211" fmla="*/ 3789372 w 9740963"/>
              <a:gd name="connsiteY211" fmla="*/ 5216988 h 6858000"/>
              <a:gd name="connsiteX212" fmla="*/ 3789371 w 9740963"/>
              <a:gd name="connsiteY212" fmla="*/ 5216989 h 6858000"/>
              <a:gd name="connsiteX213" fmla="*/ 3789371 w 9740963"/>
              <a:gd name="connsiteY213" fmla="*/ 3642317 h 6858000"/>
              <a:gd name="connsiteX214" fmla="*/ 3789371 w 9740963"/>
              <a:gd name="connsiteY214" fmla="*/ 3642316 h 6858000"/>
              <a:gd name="connsiteX215" fmla="*/ 3925563 w 9740963"/>
              <a:gd name="connsiteY215" fmla="*/ 3506125 h 6858000"/>
              <a:gd name="connsiteX216" fmla="*/ 3526024 w 9740963"/>
              <a:gd name="connsiteY216" fmla="*/ 3506125 h 6858000"/>
              <a:gd name="connsiteX217" fmla="*/ 3662215 w 9740963"/>
              <a:gd name="connsiteY217" fmla="*/ 3642316 h 6858000"/>
              <a:gd name="connsiteX218" fmla="*/ 3662215 w 9740963"/>
              <a:gd name="connsiteY218" fmla="*/ 3642317 h 6858000"/>
              <a:gd name="connsiteX219" fmla="*/ 3662215 w 9740963"/>
              <a:gd name="connsiteY219" fmla="*/ 5216988 h 6858000"/>
              <a:gd name="connsiteX220" fmla="*/ 3662215 w 9740963"/>
              <a:gd name="connsiteY220" fmla="*/ 5216989 h 6858000"/>
              <a:gd name="connsiteX221" fmla="*/ 3662215 w 9740963"/>
              <a:gd name="connsiteY221" fmla="*/ 5235467 h 6858000"/>
              <a:gd name="connsiteX222" fmla="*/ 3653377 w 9740963"/>
              <a:gd name="connsiteY222" fmla="*/ 5279239 h 6858000"/>
              <a:gd name="connsiteX223" fmla="*/ 3580900 w 9740963"/>
              <a:gd name="connsiteY223" fmla="*/ 5351716 h 6858000"/>
              <a:gd name="connsiteX224" fmla="*/ 3537132 w 9740963"/>
              <a:gd name="connsiteY224" fmla="*/ 5360552 h 6858000"/>
              <a:gd name="connsiteX225" fmla="*/ 3518647 w 9740963"/>
              <a:gd name="connsiteY225" fmla="*/ 5360553 h 6858000"/>
              <a:gd name="connsiteX226" fmla="*/ 1949784 w 9740963"/>
              <a:gd name="connsiteY226" fmla="*/ 5360553 h 6858000"/>
              <a:gd name="connsiteX227" fmla="*/ 1949784 w 9740963"/>
              <a:gd name="connsiteY227" fmla="*/ 5360552 h 6858000"/>
              <a:gd name="connsiteX228" fmla="*/ 1931296 w 9740963"/>
              <a:gd name="connsiteY228" fmla="*/ 5360552 h 6858000"/>
              <a:gd name="connsiteX229" fmla="*/ 1887528 w 9740963"/>
              <a:gd name="connsiteY229" fmla="*/ 5351716 h 6858000"/>
              <a:gd name="connsiteX230" fmla="*/ 1804350 w 9740963"/>
              <a:gd name="connsiteY230" fmla="*/ 5226228 h 6858000"/>
              <a:gd name="connsiteX231" fmla="*/ 1815052 w 9740963"/>
              <a:gd name="connsiteY231" fmla="*/ 5173216 h 6858000"/>
              <a:gd name="connsiteX232" fmla="*/ 1836205 w 9740963"/>
              <a:gd name="connsiteY232" fmla="*/ 5141842 h 6858000"/>
              <a:gd name="connsiteX233" fmla="*/ 1856154 w 9740963"/>
              <a:gd name="connsiteY233" fmla="*/ 5121892 h 6858000"/>
              <a:gd name="connsiteX234" fmla="*/ 1856156 w 9740963"/>
              <a:gd name="connsiteY234" fmla="*/ 5121891 h 6858000"/>
              <a:gd name="connsiteX235" fmla="*/ 3436812 w 9740963"/>
              <a:gd name="connsiteY235" fmla="*/ 3541235 h 6858000"/>
              <a:gd name="connsiteX236" fmla="*/ 3473013 w 9740963"/>
              <a:gd name="connsiteY236" fmla="*/ 3516828 h 6858000"/>
              <a:gd name="connsiteX237" fmla="*/ 3526024 w 9740963"/>
              <a:gd name="connsiteY237" fmla="*/ 3506125 h 6858000"/>
              <a:gd name="connsiteX238" fmla="*/ 9740963 w 9740963"/>
              <a:gd name="connsiteY238" fmla="*/ 2862533 h 6858000"/>
              <a:gd name="connsiteX239" fmla="*/ 9740963 w 9740963"/>
              <a:gd name="connsiteY239" fmla="*/ 3351876 h 6858000"/>
              <a:gd name="connsiteX240" fmla="*/ 9583907 w 9740963"/>
              <a:gd name="connsiteY240" fmla="*/ 3351876 h 6858000"/>
              <a:gd name="connsiteX241" fmla="*/ 9583907 w 9740963"/>
              <a:gd name="connsiteY241" fmla="*/ 3351875 h 6858000"/>
              <a:gd name="connsiteX242" fmla="*/ 9565421 w 9740963"/>
              <a:gd name="connsiteY242" fmla="*/ 3351875 h 6858000"/>
              <a:gd name="connsiteX243" fmla="*/ 9521653 w 9740963"/>
              <a:gd name="connsiteY243" fmla="*/ 3343039 h 6858000"/>
              <a:gd name="connsiteX244" fmla="*/ 9438473 w 9740963"/>
              <a:gd name="connsiteY244" fmla="*/ 3217551 h 6858000"/>
              <a:gd name="connsiteX245" fmla="*/ 9449177 w 9740963"/>
              <a:gd name="connsiteY245" fmla="*/ 3164541 h 6858000"/>
              <a:gd name="connsiteX246" fmla="*/ 9470329 w 9740963"/>
              <a:gd name="connsiteY246" fmla="*/ 3133166 h 6858000"/>
              <a:gd name="connsiteX247" fmla="*/ 9490279 w 9740963"/>
              <a:gd name="connsiteY247" fmla="*/ 3113216 h 6858000"/>
              <a:gd name="connsiteX248" fmla="*/ 9490281 w 9740963"/>
              <a:gd name="connsiteY248" fmla="*/ 3113215 h 6858000"/>
              <a:gd name="connsiteX249" fmla="*/ 9022355 w 9740963"/>
              <a:gd name="connsiteY249" fmla="*/ 1497450 h 6858000"/>
              <a:gd name="connsiteX250" fmla="*/ 9740963 w 9740963"/>
              <a:gd name="connsiteY250" fmla="*/ 1497450 h 6858000"/>
              <a:gd name="connsiteX251" fmla="*/ 9740963 w 9740963"/>
              <a:gd name="connsiteY251" fmla="*/ 2679993 h 6858000"/>
              <a:gd name="connsiteX252" fmla="*/ 9104189 w 9740963"/>
              <a:gd name="connsiteY252" fmla="*/ 3316766 h 6858000"/>
              <a:gd name="connsiteX253" fmla="*/ 9067989 w 9740963"/>
              <a:gd name="connsiteY253" fmla="*/ 3341173 h 6858000"/>
              <a:gd name="connsiteX254" fmla="*/ 9014977 w 9740963"/>
              <a:gd name="connsiteY254" fmla="*/ 3351876 h 6858000"/>
              <a:gd name="connsiteX255" fmla="*/ 8878787 w 9740963"/>
              <a:gd name="connsiteY255" fmla="*/ 3215686 h 6858000"/>
              <a:gd name="connsiteX256" fmla="*/ 8878787 w 9740963"/>
              <a:gd name="connsiteY256" fmla="*/ 3215685 h 6858000"/>
              <a:gd name="connsiteX257" fmla="*/ 8878787 w 9740963"/>
              <a:gd name="connsiteY257" fmla="*/ 1641015 h 6858000"/>
              <a:gd name="connsiteX258" fmla="*/ 8878787 w 9740963"/>
              <a:gd name="connsiteY258" fmla="*/ 1641014 h 6858000"/>
              <a:gd name="connsiteX259" fmla="*/ 8878787 w 9740963"/>
              <a:gd name="connsiteY259" fmla="*/ 1622536 h 6858000"/>
              <a:gd name="connsiteX260" fmla="*/ 8887625 w 9740963"/>
              <a:gd name="connsiteY260" fmla="*/ 1578764 h 6858000"/>
              <a:gd name="connsiteX261" fmla="*/ 8960101 w 9740963"/>
              <a:gd name="connsiteY261" fmla="*/ 1506287 h 6858000"/>
              <a:gd name="connsiteX262" fmla="*/ 9003869 w 9740963"/>
              <a:gd name="connsiteY262" fmla="*/ 1497451 h 6858000"/>
              <a:gd name="connsiteX263" fmla="*/ 7039199 w 9740963"/>
              <a:gd name="connsiteY263" fmla="*/ 1497450 h 6858000"/>
              <a:gd name="connsiteX264" fmla="*/ 8608063 w 9740963"/>
              <a:gd name="connsiteY264" fmla="*/ 1497450 h 6858000"/>
              <a:gd name="connsiteX265" fmla="*/ 8626549 w 9740963"/>
              <a:gd name="connsiteY265" fmla="*/ 1497451 h 6858000"/>
              <a:gd name="connsiteX266" fmla="*/ 8670317 w 9740963"/>
              <a:gd name="connsiteY266" fmla="*/ 1506287 h 6858000"/>
              <a:gd name="connsiteX267" fmla="*/ 8742793 w 9740963"/>
              <a:gd name="connsiteY267" fmla="*/ 1578764 h 6858000"/>
              <a:gd name="connsiteX268" fmla="*/ 8751631 w 9740963"/>
              <a:gd name="connsiteY268" fmla="*/ 1622536 h 6858000"/>
              <a:gd name="connsiteX269" fmla="*/ 8751631 w 9740963"/>
              <a:gd name="connsiteY269" fmla="*/ 1641014 h 6858000"/>
              <a:gd name="connsiteX270" fmla="*/ 8751631 w 9740963"/>
              <a:gd name="connsiteY270" fmla="*/ 1641015 h 6858000"/>
              <a:gd name="connsiteX271" fmla="*/ 8751631 w 9740963"/>
              <a:gd name="connsiteY271" fmla="*/ 3215685 h 6858000"/>
              <a:gd name="connsiteX272" fmla="*/ 8751631 w 9740963"/>
              <a:gd name="connsiteY272" fmla="*/ 3215686 h 6858000"/>
              <a:gd name="connsiteX273" fmla="*/ 8615441 w 9740963"/>
              <a:gd name="connsiteY273" fmla="*/ 3351876 h 6858000"/>
              <a:gd name="connsiteX274" fmla="*/ 8562429 w 9740963"/>
              <a:gd name="connsiteY274" fmla="*/ 3341173 h 6858000"/>
              <a:gd name="connsiteX275" fmla="*/ 8526229 w 9740963"/>
              <a:gd name="connsiteY275" fmla="*/ 3316766 h 6858000"/>
              <a:gd name="connsiteX276" fmla="*/ 6945573 w 9740963"/>
              <a:gd name="connsiteY276" fmla="*/ 1736112 h 6858000"/>
              <a:gd name="connsiteX277" fmla="*/ 6945571 w 9740963"/>
              <a:gd name="connsiteY277" fmla="*/ 1736111 h 6858000"/>
              <a:gd name="connsiteX278" fmla="*/ 6925621 w 9740963"/>
              <a:gd name="connsiteY278" fmla="*/ 1716161 h 6858000"/>
              <a:gd name="connsiteX279" fmla="*/ 6904469 w 9740963"/>
              <a:gd name="connsiteY279" fmla="*/ 1684787 h 6858000"/>
              <a:gd name="connsiteX280" fmla="*/ 6893765 w 9740963"/>
              <a:gd name="connsiteY280" fmla="*/ 1631775 h 6858000"/>
              <a:gd name="connsiteX281" fmla="*/ 6976945 w 9740963"/>
              <a:gd name="connsiteY281" fmla="*/ 1506287 h 6858000"/>
              <a:gd name="connsiteX282" fmla="*/ 7020713 w 9740963"/>
              <a:gd name="connsiteY282" fmla="*/ 1497451 h 6858000"/>
              <a:gd name="connsiteX283" fmla="*/ 7039199 w 9740963"/>
              <a:gd name="connsiteY283" fmla="*/ 1497451 h 6858000"/>
              <a:gd name="connsiteX284" fmla="*/ 6470269 w 9740963"/>
              <a:gd name="connsiteY284" fmla="*/ 1497450 h 6858000"/>
              <a:gd name="connsiteX285" fmla="*/ 6523281 w 9740963"/>
              <a:gd name="connsiteY285" fmla="*/ 1508153 h 6858000"/>
              <a:gd name="connsiteX286" fmla="*/ 6559481 w 9740963"/>
              <a:gd name="connsiteY286" fmla="*/ 1532560 h 6858000"/>
              <a:gd name="connsiteX287" fmla="*/ 8140137 w 9740963"/>
              <a:gd name="connsiteY287" fmla="*/ 3113215 h 6858000"/>
              <a:gd name="connsiteX288" fmla="*/ 8140139 w 9740963"/>
              <a:gd name="connsiteY288" fmla="*/ 3113216 h 6858000"/>
              <a:gd name="connsiteX289" fmla="*/ 8160089 w 9740963"/>
              <a:gd name="connsiteY289" fmla="*/ 3133166 h 6858000"/>
              <a:gd name="connsiteX290" fmla="*/ 8181241 w 9740963"/>
              <a:gd name="connsiteY290" fmla="*/ 3164541 h 6858000"/>
              <a:gd name="connsiteX291" fmla="*/ 8191945 w 9740963"/>
              <a:gd name="connsiteY291" fmla="*/ 3217551 h 6858000"/>
              <a:gd name="connsiteX292" fmla="*/ 8108765 w 9740963"/>
              <a:gd name="connsiteY292" fmla="*/ 3343039 h 6858000"/>
              <a:gd name="connsiteX293" fmla="*/ 8064997 w 9740963"/>
              <a:gd name="connsiteY293" fmla="*/ 3351875 h 6858000"/>
              <a:gd name="connsiteX294" fmla="*/ 8046511 w 9740963"/>
              <a:gd name="connsiteY294" fmla="*/ 3351875 h 6858000"/>
              <a:gd name="connsiteX295" fmla="*/ 8046511 w 9740963"/>
              <a:gd name="connsiteY295" fmla="*/ 3351876 h 6858000"/>
              <a:gd name="connsiteX296" fmla="*/ 6477647 w 9740963"/>
              <a:gd name="connsiteY296" fmla="*/ 3351876 h 6858000"/>
              <a:gd name="connsiteX297" fmla="*/ 6459161 w 9740963"/>
              <a:gd name="connsiteY297" fmla="*/ 3351875 h 6858000"/>
              <a:gd name="connsiteX298" fmla="*/ 6415393 w 9740963"/>
              <a:gd name="connsiteY298" fmla="*/ 3343039 h 6858000"/>
              <a:gd name="connsiteX299" fmla="*/ 6342917 w 9740963"/>
              <a:gd name="connsiteY299" fmla="*/ 3270562 h 6858000"/>
              <a:gd name="connsiteX300" fmla="*/ 6334079 w 9740963"/>
              <a:gd name="connsiteY300" fmla="*/ 3226790 h 6858000"/>
              <a:gd name="connsiteX301" fmla="*/ 6334079 w 9740963"/>
              <a:gd name="connsiteY301" fmla="*/ 3208313 h 6858000"/>
              <a:gd name="connsiteX302" fmla="*/ 6334079 w 9740963"/>
              <a:gd name="connsiteY302" fmla="*/ 3208312 h 6858000"/>
              <a:gd name="connsiteX303" fmla="*/ 6334079 w 9740963"/>
              <a:gd name="connsiteY303" fmla="*/ 1633642 h 6858000"/>
              <a:gd name="connsiteX304" fmla="*/ 6334079 w 9740963"/>
              <a:gd name="connsiteY304" fmla="*/ 1633641 h 6858000"/>
              <a:gd name="connsiteX305" fmla="*/ 6470269 w 9740963"/>
              <a:gd name="connsiteY305" fmla="*/ 1497450 h 6858000"/>
              <a:gd name="connsiteX306" fmla="*/ 6070733 w 9740963"/>
              <a:gd name="connsiteY306" fmla="*/ 1497450 h 6858000"/>
              <a:gd name="connsiteX307" fmla="*/ 6206923 w 9740963"/>
              <a:gd name="connsiteY307" fmla="*/ 1633641 h 6858000"/>
              <a:gd name="connsiteX308" fmla="*/ 6206923 w 9740963"/>
              <a:gd name="connsiteY308" fmla="*/ 1633642 h 6858000"/>
              <a:gd name="connsiteX309" fmla="*/ 6206923 w 9740963"/>
              <a:gd name="connsiteY309" fmla="*/ 3208312 h 6858000"/>
              <a:gd name="connsiteX310" fmla="*/ 6206923 w 9740963"/>
              <a:gd name="connsiteY310" fmla="*/ 3208313 h 6858000"/>
              <a:gd name="connsiteX311" fmla="*/ 6206923 w 9740963"/>
              <a:gd name="connsiteY311" fmla="*/ 3226790 h 6858000"/>
              <a:gd name="connsiteX312" fmla="*/ 6198085 w 9740963"/>
              <a:gd name="connsiteY312" fmla="*/ 3270562 h 6858000"/>
              <a:gd name="connsiteX313" fmla="*/ 6125609 w 9740963"/>
              <a:gd name="connsiteY313" fmla="*/ 3343039 h 6858000"/>
              <a:gd name="connsiteX314" fmla="*/ 6081841 w 9740963"/>
              <a:gd name="connsiteY314" fmla="*/ 3351875 h 6858000"/>
              <a:gd name="connsiteX315" fmla="*/ 6063355 w 9740963"/>
              <a:gd name="connsiteY315" fmla="*/ 3351876 h 6858000"/>
              <a:gd name="connsiteX316" fmla="*/ 4494492 w 9740963"/>
              <a:gd name="connsiteY316" fmla="*/ 3351876 h 6858000"/>
              <a:gd name="connsiteX317" fmla="*/ 4494492 w 9740963"/>
              <a:gd name="connsiteY317" fmla="*/ 3351875 h 6858000"/>
              <a:gd name="connsiteX318" fmla="*/ 4476005 w 9740963"/>
              <a:gd name="connsiteY318" fmla="*/ 3351875 h 6858000"/>
              <a:gd name="connsiteX319" fmla="*/ 4432239 w 9740963"/>
              <a:gd name="connsiteY319" fmla="*/ 3343039 h 6858000"/>
              <a:gd name="connsiteX320" fmla="*/ 4349059 w 9740963"/>
              <a:gd name="connsiteY320" fmla="*/ 3217551 h 6858000"/>
              <a:gd name="connsiteX321" fmla="*/ 4359762 w 9740963"/>
              <a:gd name="connsiteY321" fmla="*/ 3164541 h 6858000"/>
              <a:gd name="connsiteX322" fmla="*/ 4380915 w 9740963"/>
              <a:gd name="connsiteY322" fmla="*/ 3133166 h 6858000"/>
              <a:gd name="connsiteX323" fmla="*/ 4400864 w 9740963"/>
              <a:gd name="connsiteY323" fmla="*/ 3113216 h 6858000"/>
              <a:gd name="connsiteX324" fmla="*/ 4400867 w 9740963"/>
              <a:gd name="connsiteY324" fmla="*/ 3113215 h 6858000"/>
              <a:gd name="connsiteX325" fmla="*/ 5981521 w 9740963"/>
              <a:gd name="connsiteY325" fmla="*/ 1532560 h 6858000"/>
              <a:gd name="connsiteX326" fmla="*/ 6017721 w 9740963"/>
              <a:gd name="connsiteY326" fmla="*/ 1508153 h 6858000"/>
              <a:gd name="connsiteX327" fmla="*/ 6070733 w 9740963"/>
              <a:gd name="connsiteY327" fmla="*/ 1497450 h 6858000"/>
              <a:gd name="connsiteX328" fmla="*/ 3932943 w 9740963"/>
              <a:gd name="connsiteY328" fmla="*/ 1497450 h 6858000"/>
              <a:gd name="connsiteX329" fmla="*/ 5501803 w 9740963"/>
              <a:gd name="connsiteY329" fmla="*/ 1497450 h 6858000"/>
              <a:gd name="connsiteX330" fmla="*/ 5501803 w 9740963"/>
              <a:gd name="connsiteY330" fmla="*/ 1497451 h 6858000"/>
              <a:gd name="connsiteX331" fmla="*/ 5520290 w 9740963"/>
              <a:gd name="connsiteY331" fmla="*/ 1497451 h 6858000"/>
              <a:gd name="connsiteX332" fmla="*/ 5564058 w 9740963"/>
              <a:gd name="connsiteY332" fmla="*/ 1506287 h 6858000"/>
              <a:gd name="connsiteX333" fmla="*/ 5647237 w 9740963"/>
              <a:gd name="connsiteY333" fmla="*/ 1631775 h 6858000"/>
              <a:gd name="connsiteX334" fmla="*/ 5636534 w 9740963"/>
              <a:gd name="connsiteY334" fmla="*/ 1684787 h 6858000"/>
              <a:gd name="connsiteX335" fmla="*/ 5615382 w 9740963"/>
              <a:gd name="connsiteY335" fmla="*/ 1716161 h 6858000"/>
              <a:gd name="connsiteX336" fmla="*/ 5595432 w 9740963"/>
              <a:gd name="connsiteY336" fmla="*/ 1736111 h 6858000"/>
              <a:gd name="connsiteX337" fmla="*/ 5595430 w 9740963"/>
              <a:gd name="connsiteY337" fmla="*/ 1736112 h 6858000"/>
              <a:gd name="connsiteX338" fmla="*/ 4014775 w 9740963"/>
              <a:gd name="connsiteY338" fmla="*/ 3316766 h 6858000"/>
              <a:gd name="connsiteX339" fmla="*/ 3978575 w 9740963"/>
              <a:gd name="connsiteY339" fmla="*/ 3341173 h 6858000"/>
              <a:gd name="connsiteX340" fmla="*/ 3925563 w 9740963"/>
              <a:gd name="connsiteY340" fmla="*/ 3351876 h 6858000"/>
              <a:gd name="connsiteX341" fmla="*/ 3789371 w 9740963"/>
              <a:gd name="connsiteY341" fmla="*/ 3215686 h 6858000"/>
              <a:gd name="connsiteX342" fmla="*/ 3789371 w 9740963"/>
              <a:gd name="connsiteY342" fmla="*/ 3215685 h 6858000"/>
              <a:gd name="connsiteX343" fmla="*/ 3789372 w 9740963"/>
              <a:gd name="connsiteY343" fmla="*/ 1641014 h 6858000"/>
              <a:gd name="connsiteX344" fmla="*/ 3789374 w 9740963"/>
              <a:gd name="connsiteY344" fmla="*/ 1641015 h 6858000"/>
              <a:gd name="connsiteX345" fmla="*/ 3789374 w 9740963"/>
              <a:gd name="connsiteY345" fmla="*/ 1622536 h 6858000"/>
              <a:gd name="connsiteX346" fmla="*/ 3798210 w 9740963"/>
              <a:gd name="connsiteY346" fmla="*/ 1578764 h 6858000"/>
              <a:gd name="connsiteX347" fmla="*/ 3870687 w 9740963"/>
              <a:gd name="connsiteY347" fmla="*/ 1506287 h 6858000"/>
              <a:gd name="connsiteX348" fmla="*/ 3914456 w 9740963"/>
              <a:gd name="connsiteY348" fmla="*/ 1497451 h 6858000"/>
              <a:gd name="connsiteX349" fmla="*/ 1949785 w 9740963"/>
              <a:gd name="connsiteY349" fmla="*/ 1497450 h 6858000"/>
              <a:gd name="connsiteX350" fmla="*/ 3518648 w 9740963"/>
              <a:gd name="connsiteY350" fmla="*/ 1497450 h 6858000"/>
              <a:gd name="connsiteX351" fmla="*/ 3537134 w 9740963"/>
              <a:gd name="connsiteY351" fmla="*/ 1497451 h 6858000"/>
              <a:gd name="connsiteX352" fmla="*/ 3580902 w 9740963"/>
              <a:gd name="connsiteY352" fmla="*/ 1506287 h 6858000"/>
              <a:gd name="connsiteX353" fmla="*/ 3653380 w 9740963"/>
              <a:gd name="connsiteY353" fmla="*/ 1578764 h 6858000"/>
              <a:gd name="connsiteX354" fmla="*/ 3662216 w 9740963"/>
              <a:gd name="connsiteY354" fmla="*/ 1622536 h 6858000"/>
              <a:gd name="connsiteX355" fmla="*/ 3662216 w 9740963"/>
              <a:gd name="connsiteY355" fmla="*/ 1641015 h 6858000"/>
              <a:gd name="connsiteX356" fmla="*/ 3662218 w 9740963"/>
              <a:gd name="connsiteY356" fmla="*/ 1641014 h 6858000"/>
              <a:gd name="connsiteX357" fmla="*/ 3662217 w 9740963"/>
              <a:gd name="connsiteY357" fmla="*/ 3215685 h 6858000"/>
              <a:gd name="connsiteX358" fmla="*/ 3662217 w 9740963"/>
              <a:gd name="connsiteY358" fmla="*/ 3215686 h 6858000"/>
              <a:gd name="connsiteX359" fmla="*/ 3526026 w 9740963"/>
              <a:gd name="connsiteY359" fmla="*/ 3351876 h 6858000"/>
              <a:gd name="connsiteX360" fmla="*/ 3473014 w 9740963"/>
              <a:gd name="connsiteY360" fmla="*/ 3341173 h 6858000"/>
              <a:gd name="connsiteX361" fmla="*/ 3436813 w 9740963"/>
              <a:gd name="connsiteY361" fmla="*/ 3316766 h 6858000"/>
              <a:gd name="connsiteX362" fmla="*/ 1856157 w 9740963"/>
              <a:gd name="connsiteY362" fmla="*/ 1736112 h 6858000"/>
              <a:gd name="connsiteX363" fmla="*/ 1856156 w 9740963"/>
              <a:gd name="connsiteY363" fmla="*/ 1736111 h 6858000"/>
              <a:gd name="connsiteX364" fmla="*/ 1836206 w 9740963"/>
              <a:gd name="connsiteY364" fmla="*/ 1716161 h 6858000"/>
              <a:gd name="connsiteX365" fmla="*/ 1815054 w 9740963"/>
              <a:gd name="connsiteY365" fmla="*/ 1684787 h 6858000"/>
              <a:gd name="connsiteX366" fmla="*/ 1804351 w 9740963"/>
              <a:gd name="connsiteY366" fmla="*/ 1631775 h 6858000"/>
              <a:gd name="connsiteX367" fmla="*/ 1887531 w 9740963"/>
              <a:gd name="connsiteY367" fmla="*/ 1506287 h 6858000"/>
              <a:gd name="connsiteX368" fmla="*/ 1931299 w 9740963"/>
              <a:gd name="connsiteY368" fmla="*/ 1497451 h 6858000"/>
              <a:gd name="connsiteX369" fmla="*/ 1949785 w 9740963"/>
              <a:gd name="connsiteY369" fmla="*/ 1497451 h 6858000"/>
              <a:gd name="connsiteX370" fmla="*/ 9740963 w 9740963"/>
              <a:gd name="connsiteY370" fmla="*/ 853857 h 6858000"/>
              <a:gd name="connsiteX371" fmla="*/ 9740963 w 9740963"/>
              <a:gd name="connsiteY371" fmla="*/ 1343201 h 6858000"/>
              <a:gd name="connsiteX372" fmla="*/ 9583907 w 9740963"/>
              <a:gd name="connsiteY372" fmla="*/ 1343201 h 6858000"/>
              <a:gd name="connsiteX373" fmla="*/ 9583907 w 9740963"/>
              <a:gd name="connsiteY373" fmla="*/ 1343200 h 6858000"/>
              <a:gd name="connsiteX374" fmla="*/ 9565421 w 9740963"/>
              <a:gd name="connsiteY374" fmla="*/ 1343200 h 6858000"/>
              <a:gd name="connsiteX375" fmla="*/ 9521653 w 9740963"/>
              <a:gd name="connsiteY375" fmla="*/ 1334363 h 6858000"/>
              <a:gd name="connsiteX376" fmla="*/ 9438473 w 9740963"/>
              <a:gd name="connsiteY376" fmla="*/ 1208876 h 6858000"/>
              <a:gd name="connsiteX377" fmla="*/ 9449177 w 9740963"/>
              <a:gd name="connsiteY377" fmla="*/ 1155864 h 6858000"/>
              <a:gd name="connsiteX378" fmla="*/ 9470329 w 9740963"/>
              <a:gd name="connsiteY378" fmla="*/ 1124490 h 6858000"/>
              <a:gd name="connsiteX379" fmla="*/ 9490279 w 9740963"/>
              <a:gd name="connsiteY379" fmla="*/ 1104541 h 6858000"/>
              <a:gd name="connsiteX380" fmla="*/ 9490281 w 9740963"/>
              <a:gd name="connsiteY380" fmla="*/ 1104539 h 6858000"/>
              <a:gd name="connsiteX381" fmla="*/ 8878787 w 9740963"/>
              <a:gd name="connsiteY381" fmla="*/ 0 h 6858000"/>
              <a:gd name="connsiteX382" fmla="*/ 9740963 w 9740963"/>
              <a:gd name="connsiteY382" fmla="*/ 0 h 6858000"/>
              <a:gd name="connsiteX383" fmla="*/ 9740963 w 9740963"/>
              <a:gd name="connsiteY383" fmla="*/ 671317 h 6858000"/>
              <a:gd name="connsiteX384" fmla="*/ 9104189 w 9740963"/>
              <a:gd name="connsiteY384" fmla="*/ 1308091 h 6858000"/>
              <a:gd name="connsiteX385" fmla="*/ 9067989 w 9740963"/>
              <a:gd name="connsiteY385" fmla="*/ 1332498 h 6858000"/>
              <a:gd name="connsiteX386" fmla="*/ 9014977 w 9740963"/>
              <a:gd name="connsiteY386" fmla="*/ 1343201 h 6858000"/>
              <a:gd name="connsiteX387" fmla="*/ 8878787 w 9740963"/>
              <a:gd name="connsiteY387" fmla="*/ 1207011 h 6858000"/>
              <a:gd name="connsiteX388" fmla="*/ 8878787 w 9740963"/>
              <a:gd name="connsiteY388" fmla="*/ 1207009 h 6858000"/>
              <a:gd name="connsiteX389" fmla="*/ 7218138 w 9740963"/>
              <a:gd name="connsiteY389" fmla="*/ 0 h 6858000"/>
              <a:gd name="connsiteX390" fmla="*/ 8751631 w 9740963"/>
              <a:gd name="connsiteY390" fmla="*/ 0 h 6858000"/>
              <a:gd name="connsiteX391" fmla="*/ 8751631 w 9740963"/>
              <a:gd name="connsiteY391" fmla="*/ 1207009 h 6858000"/>
              <a:gd name="connsiteX392" fmla="*/ 8751631 w 9740963"/>
              <a:gd name="connsiteY392" fmla="*/ 1207011 h 6858000"/>
              <a:gd name="connsiteX393" fmla="*/ 8615441 w 9740963"/>
              <a:gd name="connsiteY393" fmla="*/ 1343201 h 6858000"/>
              <a:gd name="connsiteX394" fmla="*/ 8562429 w 9740963"/>
              <a:gd name="connsiteY394" fmla="*/ 1332498 h 6858000"/>
              <a:gd name="connsiteX395" fmla="*/ 8526229 w 9740963"/>
              <a:gd name="connsiteY395" fmla="*/ 1308091 h 6858000"/>
              <a:gd name="connsiteX396" fmla="*/ 6334079 w 9740963"/>
              <a:gd name="connsiteY396" fmla="*/ 0 h 6858000"/>
              <a:gd name="connsiteX397" fmla="*/ 7035598 w 9740963"/>
              <a:gd name="connsiteY397" fmla="*/ 0 h 6858000"/>
              <a:gd name="connsiteX398" fmla="*/ 8140137 w 9740963"/>
              <a:gd name="connsiteY398" fmla="*/ 1104539 h 6858000"/>
              <a:gd name="connsiteX399" fmla="*/ 8140139 w 9740963"/>
              <a:gd name="connsiteY399" fmla="*/ 1104541 h 6858000"/>
              <a:gd name="connsiteX400" fmla="*/ 8160089 w 9740963"/>
              <a:gd name="connsiteY400" fmla="*/ 1124490 h 6858000"/>
              <a:gd name="connsiteX401" fmla="*/ 8181241 w 9740963"/>
              <a:gd name="connsiteY401" fmla="*/ 1155864 h 6858000"/>
              <a:gd name="connsiteX402" fmla="*/ 8191945 w 9740963"/>
              <a:gd name="connsiteY402" fmla="*/ 1208876 h 6858000"/>
              <a:gd name="connsiteX403" fmla="*/ 8108765 w 9740963"/>
              <a:gd name="connsiteY403" fmla="*/ 1334363 h 6858000"/>
              <a:gd name="connsiteX404" fmla="*/ 8064997 w 9740963"/>
              <a:gd name="connsiteY404" fmla="*/ 1343200 h 6858000"/>
              <a:gd name="connsiteX405" fmla="*/ 8046511 w 9740963"/>
              <a:gd name="connsiteY405" fmla="*/ 1343200 h 6858000"/>
              <a:gd name="connsiteX406" fmla="*/ 8046511 w 9740963"/>
              <a:gd name="connsiteY406" fmla="*/ 1343201 h 6858000"/>
              <a:gd name="connsiteX407" fmla="*/ 6477647 w 9740963"/>
              <a:gd name="connsiteY407" fmla="*/ 1343201 h 6858000"/>
              <a:gd name="connsiteX408" fmla="*/ 6459161 w 9740963"/>
              <a:gd name="connsiteY408" fmla="*/ 1343200 h 6858000"/>
              <a:gd name="connsiteX409" fmla="*/ 6415393 w 9740963"/>
              <a:gd name="connsiteY409" fmla="*/ 1334363 h 6858000"/>
              <a:gd name="connsiteX410" fmla="*/ 6342917 w 9740963"/>
              <a:gd name="connsiteY410" fmla="*/ 1261887 h 6858000"/>
              <a:gd name="connsiteX411" fmla="*/ 6334079 w 9740963"/>
              <a:gd name="connsiteY411" fmla="*/ 1218115 h 6858000"/>
              <a:gd name="connsiteX412" fmla="*/ 6334079 w 9740963"/>
              <a:gd name="connsiteY412" fmla="*/ 1199637 h 6858000"/>
              <a:gd name="connsiteX413" fmla="*/ 6334079 w 9740963"/>
              <a:gd name="connsiteY413" fmla="*/ 1199636 h 6858000"/>
              <a:gd name="connsiteX414" fmla="*/ 5505405 w 9740963"/>
              <a:gd name="connsiteY414" fmla="*/ 0 h 6858000"/>
              <a:gd name="connsiteX415" fmla="*/ 6206923 w 9740963"/>
              <a:gd name="connsiteY415" fmla="*/ 0 h 6858000"/>
              <a:gd name="connsiteX416" fmla="*/ 6206923 w 9740963"/>
              <a:gd name="connsiteY416" fmla="*/ 1199636 h 6858000"/>
              <a:gd name="connsiteX417" fmla="*/ 6206923 w 9740963"/>
              <a:gd name="connsiteY417" fmla="*/ 1199637 h 6858000"/>
              <a:gd name="connsiteX418" fmla="*/ 6206923 w 9740963"/>
              <a:gd name="connsiteY418" fmla="*/ 1218115 h 6858000"/>
              <a:gd name="connsiteX419" fmla="*/ 6198085 w 9740963"/>
              <a:gd name="connsiteY419" fmla="*/ 1261887 h 6858000"/>
              <a:gd name="connsiteX420" fmla="*/ 6125609 w 9740963"/>
              <a:gd name="connsiteY420" fmla="*/ 1334363 h 6858000"/>
              <a:gd name="connsiteX421" fmla="*/ 6081841 w 9740963"/>
              <a:gd name="connsiteY421" fmla="*/ 1343200 h 6858000"/>
              <a:gd name="connsiteX422" fmla="*/ 6063355 w 9740963"/>
              <a:gd name="connsiteY422" fmla="*/ 1343201 h 6858000"/>
              <a:gd name="connsiteX423" fmla="*/ 4494493 w 9740963"/>
              <a:gd name="connsiteY423" fmla="*/ 1343201 h 6858000"/>
              <a:gd name="connsiteX424" fmla="*/ 4494493 w 9740963"/>
              <a:gd name="connsiteY424" fmla="*/ 1343200 h 6858000"/>
              <a:gd name="connsiteX425" fmla="*/ 4476006 w 9740963"/>
              <a:gd name="connsiteY425" fmla="*/ 1343200 h 6858000"/>
              <a:gd name="connsiteX426" fmla="*/ 4432239 w 9740963"/>
              <a:gd name="connsiteY426" fmla="*/ 1334363 h 6858000"/>
              <a:gd name="connsiteX427" fmla="*/ 4349060 w 9740963"/>
              <a:gd name="connsiteY427" fmla="*/ 1208876 h 6858000"/>
              <a:gd name="connsiteX428" fmla="*/ 4359762 w 9740963"/>
              <a:gd name="connsiteY428" fmla="*/ 1155864 h 6858000"/>
              <a:gd name="connsiteX429" fmla="*/ 4380915 w 9740963"/>
              <a:gd name="connsiteY429" fmla="*/ 1124490 h 6858000"/>
              <a:gd name="connsiteX430" fmla="*/ 4400865 w 9740963"/>
              <a:gd name="connsiteY430" fmla="*/ 1104541 h 6858000"/>
              <a:gd name="connsiteX431" fmla="*/ 4400867 w 9740963"/>
              <a:gd name="connsiteY431" fmla="*/ 1104539 h 6858000"/>
              <a:gd name="connsiteX432" fmla="*/ 3789372 w 9740963"/>
              <a:gd name="connsiteY432" fmla="*/ 0 h 6858000"/>
              <a:gd name="connsiteX433" fmla="*/ 5322865 w 9740963"/>
              <a:gd name="connsiteY433" fmla="*/ 0 h 6858000"/>
              <a:gd name="connsiteX434" fmla="*/ 4014775 w 9740963"/>
              <a:gd name="connsiteY434" fmla="*/ 1308091 h 6858000"/>
              <a:gd name="connsiteX435" fmla="*/ 3978576 w 9740963"/>
              <a:gd name="connsiteY435" fmla="*/ 1332498 h 6858000"/>
              <a:gd name="connsiteX436" fmla="*/ 3925564 w 9740963"/>
              <a:gd name="connsiteY436" fmla="*/ 1343201 h 6858000"/>
              <a:gd name="connsiteX437" fmla="*/ 3789372 w 9740963"/>
              <a:gd name="connsiteY437" fmla="*/ 1207011 h 6858000"/>
              <a:gd name="connsiteX438" fmla="*/ 3789372 w 9740963"/>
              <a:gd name="connsiteY438" fmla="*/ 1207009 h 6858000"/>
              <a:gd name="connsiteX439" fmla="*/ 2128722 w 9740963"/>
              <a:gd name="connsiteY439" fmla="*/ 0 h 6858000"/>
              <a:gd name="connsiteX440" fmla="*/ 3662218 w 9740963"/>
              <a:gd name="connsiteY440" fmla="*/ 0 h 6858000"/>
              <a:gd name="connsiteX441" fmla="*/ 3662218 w 9740963"/>
              <a:gd name="connsiteY441" fmla="*/ 1207009 h 6858000"/>
              <a:gd name="connsiteX442" fmla="*/ 3662218 w 9740963"/>
              <a:gd name="connsiteY442" fmla="*/ 1207011 h 6858000"/>
              <a:gd name="connsiteX443" fmla="*/ 3526026 w 9740963"/>
              <a:gd name="connsiteY443" fmla="*/ 1343201 h 6858000"/>
              <a:gd name="connsiteX444" fmla="*/ 3473015 w 9740963"/>
              <a:gd name="connsiteY444" fmla="*/ 1332498 h 6858000"/>
              <a:gd name="connsiteX445" fmla="*/ 3436814 w 9740963"/>
              <a:gd name="connsiteY445" fmla="*/ 1308091 h 6858000"/>
              <a:gd name="connsiteX446" fmla="*/ 1244667 w 9740963"/>
              <a:gd name="connsiteY446" fmla="*/ 0 h 6858000"/>
              <a:gd name="connsiteX447" fmla="*/ 1946188 w 9740963"/>
              <a:gd name="connsiteY447" fmla="*/ 0 h 6858000"/>
              <a:gd name="connsiteX448" fmla="*/ 3050724 w 9740963"/>
              <a:gd name="connsiteY448" fmla="*/ 1104539 h 6858000"/>
              <a:gd name="connsiteX449" fmla="*/ 3050726 w 9740963"/>
              <a:gd name="connsiteY449" fmla="*/ 1104541 h 6858000"/>
              <a:gd name="connsiteX450" fmla="*/ 3070675 w 9740963"/>
              <a:gd name="connsiteY450" fmla="*/ 1124490 h 6858000"/>
              <a:gd name="connsiteX451" fmla="*/ 3091828 w 9740963"/>
              <a:gd name="connsiteY451" fmla="*/ 1155864 h 6858000"/>
              <a:gd name="connsiteX452" fmla="*/ 3102530 w 9740963"/>
              <a:gd name="connsiteY452" fmla="*/ 1208876 h 6858000"/>
              <a:gd name="connsiteX453" fmla="*/ 3019351 w 9740963"/>
              <a:gd name="connsiteY453" fmla="*/ 1334363 h 6858000"/>
              <a:gd name="connsiteX454" fmla="*/ 2975584 w 9740963"/>
              <a:gd name="connsiteY454" fmla="*/ 1343200 h 6858000"/>
              <a:gd name="connsiteX455" fmla="*/ 2957097 w 9740963"/>
              <a:gd name="connsiteY455" fmla="*/ 1343200 h 6858000"/>
              <a:gd name="connsiteX456" fmla="*/ 2957097 w 9740963"/>
              <a:gd name="connsiteY456" fmla="*/ 1343201 h 6858000"/>
              <a:gd name="connsiteX457" fmla="*/ 1388238 w 9740963"/>
              <a:gd name="connsiteY457" fmla="*/ 1343201 h 6858000"/>
              <a:gd name="connsiteX458" fmla="*/ 1369751 w 9740963"/>
              <a:gd name="connsiteY458" fmla="*/ 1343200 h 6858000"/>
              <a:gd name="connsiteX459" fmla="*/ 1325983 w 9740963"/>
              <a:gd name="connsiteY459" fmla="*/ 1334363 h 6858000"/>
              <a:gd name="connsiteX460" fmla="*/ 1253507 w 9740963"/>
              <a:gd name="connsiteY460" fmla="*/ 1261887 h 6858000"/>
              <a:gd name="connsiteX461" fmla="*/ 1244670 w 9740963"/>
              <a:gd name="connsiteY461" fmla="*/ 1218115 h 6858000"/>
              <a:gd name="connsiteX462" fmla="*/ 1244670 w 9740963"/>
              <a:gd name="connsiteY462" fmla="*/ 1199636 h 6858000"/>
              <a:gd name="connsiteX463" fmla="*/ 1244667 w 9740963"/>
              <a:gd name="connsiteY463" fmla="*/ 1199637 h 6858000"/>
              <a:gd name="connsiteX464" fmla="*/ 13126 w 9740963"/>
              <a:gd name="connsiteY464" fmla="*/ 0 h 6858000"/>
              <a:gd name="connsiteX465" fmla="*/ 1128917 w 9740963"/>
              <a:gd name="connsiteY465" fmla="*/ 0 h 6858000"/>
              <a:gd name="connsiteX466" fmla="*/ 1128917 w 9740963"/>
              <a:gd name="connsiteY466" fmla="*/ 783502 h 6858000"/>
              <a:gd name="connsiteX467" fmla="*/ 1128917 w 9740963"/>
              <a:gd name="connsiteY467" fmla="*/ 801988 h 6858000"/>
              <a:gd name="connsiteX468" fmla="*/ 1120079 w 9740963"/>
              <a:gd name="connsiteY468" fmla="*/ 845757 h 6858000"/>
              <a:gd name="connsiteX469" fmla="*/ 994592 w 9740963"/>
              <a:gd name="connsiteY469" fmla="*/ 928936 h 6858000"/>
              <a:gd name="connsiteX470" fmla="*/ 941580 w 9740963"/>
              <a:gd name="connsiteY470" fmla="*/ 918233 h 6858000"/>
              <a:gd name="connsiteX471" fmla="*/ 910206 w 9740963"/>
              <a:gd name="connsiteY471" fmla="*/ 897080 h 6858000"/>
              <a:gd name="connsiteX472" fmla="*/ 890257 w 9740963"/>
              <a:gd name="connsiteY472" fmla="*/ 877131 h 6858000"/>
              <a:gd name="connsiteX473" fmla="*/ 890255 w 9740963"/>
              <a:gd name="connsiteY473" fmla="*/ 87712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Lst>
            <a:rect l="l" t="t" r="r" b="b"/>
            <a:pathLst>
              <a:path w="9740963" h="6858000">
                <a:moveTo>
                  <a:pt x="981316" y="5930787"/>
                </a:moveTo>
                <a:cubicBezTo>
                  <a:pt x="1056532" y="5930787"/>
                  <a:pt x="1117507" y="5991762"/>
                  <a:pt x="1117507" y="6066978"/>
                </a:cubicBezTo>
                <a:lnTo>
                  <a:pt x="1117507" y="6066979"/>
                </a:lnTo>
                <a:lnTo>
                  <a:pt x="1117507" y="6858000"/>
                </a:lnTo>
                <a:lnTo>
                  <a:pt x="0" y="6858000"/>
                </a:lnTo>
                <a:lnTo>
                  <a:pt x="892104" y="5965897"/>
                </a:lnTo>
                <a:lnTo>
                  <a:pt x="928305" y="5941490"/>
                </a:lnTo>
                <a:cubicBezTo>
                  <a:pt x="944598" y="5934598"/>
                  <a:pt x="962512" y="5930787"/>
                  <a:pt x="981316" y="5930787"/>
                </a:cubicBezTo>
                <a:close/>
                <a:moveTo>
                  <a:pt x="9583907" y="5514803"/>
                </a:moveTo>
                <a:lnTo>
                  <a:pt x="9740963" y="5514803"/>
                </a:lnTo>
                <a:lnTo>
                  <a:pt x="9740963" y="6004147"/>
                </a:lnTo>
                <a:lnTo>
                  <a:pt x="9490281" y="5753466"/>
                </a:lnTo>
                <a:cubicBezTo>
                  <a:pt x="9490281" y="5753465"/>
                  <a:pt x="9490279" y="5753465"/>
                  <a:pt x="9490279" y="5753464"/>
                </a:cubicBezTo>
                <a:lnTo>
                  <a:pt x="9470329" y="5733515"/>
                </a:lnTo>
                <a:lnTo>
                  <a:pt x="9449177" y="5702140"/>
                </a:lnTo>
                <a:cubicBezTo>
                  <a:pt x="9442285" y="5685846"/>
                  <a:pt x="9438473" y="5667933"/>
                  <a:pt x="9438473" y="5649129"/>
                </a:cubicBezTo>
                <a:cubicBezTo>
                  <a:pt x="9438473" y="5592716"/>
                  <a:pt x="9472773" y="5544315"/>
                  <a:pt x="9521653" y="5523641"/>
                </a:cubicBezTo>
                <a:lnTo>
                  <a:pt x="9565421" y="5514804"/>
                </a:lnTo>
                <a:lnTo>
                  <a:pt x="9583907" y="5514804"/>
                </a:lnTo>
                <a:close/>
                <a:moveTo>
                  <a:pt x="9014977" y="5514803"/>
                </a:moveTo>
                <a:cubicBezTo>
                  <a:pt x="9033781" y="5514803"/>
                  <a:pt x="9051695" y="5518614"/>
                  <a:pt x="9067989" y="5525506"/>
                </a:cubicBezTo>
                <a:lnTo>
                  <a:pt x="9104189" y="5549913"/>
                </a:lnTo>
                <a:lnTo>
                  <a:pt x="9740963" y="6186687"/>
                </a:lnTo>
                <a:lnTo>
                  <a:pt x="9740963" y="6858000"/>
                </a:lnTo>
                <a:lnTo>
                  <a:pt x="8878787" y="6858000"/>
                </a:lnTo>
                <a:lnTo>
                  <a:pt x="8878787" y="5650995"/>
                </a:lnTo>
                <a:lnTo>
                  <a:pt x="8878787" y="5650994"/>
                </a:lnTo>
                <a:cubicBezTo>
                  <a:pt x="8878787" y="5575778"/>
                  <a:pt x="8939761" y="5514803"/>
                  <a:pt x="9014977" y="5514803"/>
                </a:cubicBezTo>
                <a:close/>
                <a:moveTo>
                  <a:pt x="8615441" y="5514803"/>
                </a:moveTo>
                <a:cubicBezTo>
                  <a:pt x="8690657" y="5514803"/>
                  <a:pt x="8751631" y="5575778"/>
                  <a:pt x="8751631" y="5650994"/>
                </a:cubicBezTo>
                <a:lnTo>
                  <a:pt x="8751631" y="5650995"/>
                </a:lnTo>
                <a:lnTo>
                  <a:pt x="8751631" y="6858000"/>
                </a:lnTo>
                <a:lnTo>
                  <a:pt x="7218142" y="6858000"/>
                </a:lnTo>
                <a:lnTo>
                  <a:pt x="8526229" y="5549913"/>
                </a:lnTo>
                <a:lnTo>
                  <a:pt x="8562429" y="5525506"/>
                </a:lnTo>
                <a:cubicBezTo>
                  <a:pt x="8578723" y="5518614"/>
                  <a:pt x="8596637" y="5514803"/>
                  <a:pt x="8615441" y="5514803"/>
                </a:cubicBezTo>
                <a:close/>
                <a:moveTo>
                  <a:pt x="6477647" y="5514803"/>
                </a:moveTo>
                <a:lnTo>
                  <a:pt x="8046511" y="5514803"/>
                </a:lnTo>
                <a:lnTo>
                  <a:pt x="8046511" y="5514804"/>
                </a:lnTo>
                <a:lnTo>
                  <a:pt x="8064997" y="5514804"/>
                </a:lnTo>
                <a:lnTo>
                  <a:pt x="8108765" y="5523641"/>
                </a:lnTo>
                <a:cubicBezTo>
                  <a:pt x="8157647" y="5544315"/>
                  <a:pt x="8191945" y="5592716"/>
                  <a:pt x="8191945" y="5649129"/>
                </a:cubicBezTo>
                <a:cubicBezTo>
                  <a:pt x="8191945" y="5667933"/>
                  <a:pt x="8188133" y="5685846"/>
                  <a:pt x="8181241" y="5702140"/>
                </a:cubicBezTo>
                <a:lnTo>
                  <a:pt x="8160089" y="5733515"/>
                </a:lnTo>
                <a:lnTo>
                  <a:pt x="8140139" y="5753464"/>
                </a:lnTo>
                <a:cubicBezTo>
                  <a:pt x="8140139" y="5753465"/>
                  <a:pt x="8140139" y="5753465"/>
                  <a:pt x="8140137" y="5753466"/>
                </a:cubicBezTo>
                <a:lnTo>
                  <a:pt x="7035602" y="6858000"/>
                </a:lnTo>
                <a:lnTo>
                  <a:pt x="6334079" y="6858000"/>
                </a:lnTo>
                <a:lnTo>
                  <a:pt x="6334079" y="5658368"/>
                </a:lnTo>
                <a:lnTo>
                  <a:pt x="6334079" y="5658367"/>
                </a:lnTo>
                <a:lnTo>
                  <a:pt x="6334079" y="5639889"/>
                </a:lnTo>
                <a:lnTo>
                  <a:pt x="6342917" y="5596117"/>
                </a:lnTo>
                <a:cubicBezTo>
                  <a:pt x="6356699" y="5563529"/>
                  <a:pt x="6382805" y="5537423"/>
                  <a:pt x="6415393" y="5523641"/>
                </a:cubicBezTo>
                <a:lnTo>
                  <a:pt x="6459161" y="5514804"/>
                </a:lnTo>
                <a:close/>
                <a:moveTo>
                  <a:pt x="4494492" y="5514803"/>
                </a:moveTo>
                <a:lnTo>
                  <a:pt x="6063355" y="5514803"/>
                </a:lnTo>
                <a:lnTo>
                  <a:pt x="6081841" y="5514804"/>
                </a:lnTo>
                <a:lnTo>
                  <a:pt x="6125609" y="5523641"/>
                </a:lnTo>
                <a:cubicBezTo>
                  <a:pt x="6158197" y="5537423"/>
                  <a:pt x="6184303" y="5563529"/>
                  <a:pt x="6198085" y="5596117"/>
                </a:cubicBezTo>
                <a:lnTo>
                  <a:pt x="6206923" y="5639889"/>
                </a:lnTo>
                <a:lnTo>
                  <a:pt x="6206923" y="5658367"/>
                </a:lnTo>
                <a:lnTo>
                  <a:pt x="6206923" y="5658368"/>
                </a:lnTo>
                <a:lnTo>
                  <a:pt x="6206923" y="6858000"/>
                </a:lnTo>
                <a:lnTo>
                  <a:pt x="5505401" y="6858000"/>
                </a:lnTo>
                <a:lnTo>
                  <a:pt x="4400866" y="5753466"/>
                </a:lnTo>
                <a:cubicBezTo>
                  <a:pt x="4400864" y="5753465"/>
                  <a:pt x="4400864" y="5753465"/>
                  <a:pt x="4400863" y="5753464"/>
                </a:cubicBezTo>
                <a:lnTo>
                  <a:pt x="4380913" y="5733515"/>
                </a:lnTo>
                <a:lnTo>
                  <a:pt x="4359762" y="5702140"/>
                </a:lnTo>
                <a:cubicBezTo>
                  <a:pt x="4352869" y="5685846"/>
                  <a:pt x="4349058" y="5667933"/>
                  <a:pt x="4349058" y="5649129"/>
                </a:cubicBezTo>
                <a:cubicBezTo>
                  <a:pt x="4349058" y="5592716"/>
                  <a:pt x="4383357" y="5544315"/>
                  <a:pt x="4432238" y="5523641"/>
                </a:cubicBezTo>
                <a:lnTo>
                  <a:pt x="4476005" y="5514804"/>
                </a:lnTo>
                <a:lnTo>
                  <a:pt x="4494492" y="5514804"/>
                </a:lnTo>
                <a:close/>
                <a:moveTo>
                  <a:pt x="3925562" y="5514803"/>
                </a:moveTo>
                <a:cubicBezTo>
                  <a:pt x="3944366" y="5514803"/>
                  <a:pt x="3962279" y="5518614"/>
                  <a:pt x="3978574" y="5525506"/>
                </a:cubicBezTo>
                <a:lnTo>
                  <a:pt x="4014774" y="5549913"/>
                </a:lnTo>
                <a:lnTo>
                  <a:pt x="5322861" y="6858000"/>
                </a:lnTo>
                <a:lnTo>
                  <a:pt x="3789371" y="6858000"/>
                </a:lnTo>
                <a:lnTo>
                  <a:pt x="3789371" y="5650995"/>
                </a:lnTo>
                <a:lnTo>
                  <a:pt x="3789371" y="5650994"/>
                </a:lnTo>
                <a:cubicBezTo>
                  <a:pt x="3789371" y="5575778"/>
                  <a:pt x="3850345" y="5514803"/>
                  <a:pt x="3925562" y="5514803"/>
                </a:cubicBezTo>
                <a:close/>
                <a:moveTo>
                  <a:pt x="3526025" y="5514803"/>
                </a:moveTo>
                <a:cubicBezTo>
                  <a:pt x="3601241" y="5514803"/>
                  <a:pt x="3662216" y="5575778"/>
                  <a:pt x="3662216" y="5650994"/>
                </a:cubicBezTo>
                <a:lnTo>
                  <a:pt x="3662216" y="5650995"/>
                </a:lnTo>
                <a:lnTo>
                  <a:pt x="3662216" y="6858000"/>
                </a:lnTo>
                <a:lnTo>
                  <a:pt x="2128725" y="6858000"/>
                </a:lnTo>
                <a:lnTo>
                  <a:pt x="3436813" y="5549913"/>
                </a:lnTo>
                <a:lnTo>
                  <a:pt x="3473013" y="5525506"/>
                </a:lnTo>
                <a:cubicBezTo>
                  <a:pt x="3489307" y="5518614"/>
                  <a:pt x="3507221" y="5514803"/>
                  <a:pt x="3526025" y="5514803"/>
                </a:cubicBezTo>
                <a:close/>
                <a:moveTo>
                  <a:pt x="1388232" y="5514803"/>
                </a:moveTo>
                <a:lnTo>
                  <a:pt x="2957095" y="5514803"/>
                </a:lnTo>
                <a:lnTo>
                  <a:pt x="2957095" y="5514804"/>
                </a:lnTo>
                <a:lnTo>
                  <a:pt x="2975581" y="5514804"/>
                </a:lnTo>
                <a:lnTo>
                  <a:pt x="3019349" y="5523641"/>
                </a:lnTo>
                <a:cubicBezTo>
                  <a:pt x="3068230" y="5544315"/>
                  <a:pt x="3102529" y="5592716"/>
                  <a:pt x="3102529" y="5649129"/>
                </a:cubicBezTo>
                <a:cubicBezTo>
                  <a:pt x="3102529" y="5667933"/>
                  <a:pt x="3098718" y="5685846"/>
                  <a:pt x="3091826" y="5702140"/>
                </a:cubicBezTo>
                <a:lnTo>
                  <a:pt x="3070674" y="5733515"/>
                </a:lnTo>
                <a:lnTo>
                  <a:pt x="3050724" y="5753464"/>
                </a:lnTo>
                <a:cubicBezTo>
                  <a:pt x="3050723" y="5753465"/>
                  <a:pt x="3050722" y="5753465"/>
                  <a:pt x="3050722" y="5753466"/>
                </a:cubicBezTo>
                <a:lnTo>
                  <a:pt x="1946187" y="6858000"/>
                </a:lnTo>
                <a:lnTo>
                  <a:pt x="1244663" y="6858000"/>
                </a:lnTo>
                <a:lnTo>
                  <a:pt x="1244663" y="5658367"/>
                </a:lnTo>
                <a:lnTo>
                  <a:pt x="1244664" y="5658368"/>
                </a:lnTo>
                <a:lnTo>
                  <a:pt x="1244664" y="5639889"/>
                </a:lnTo>
                <a:lnTo>
                  <a:pt x="1253501" y="5596117"/>
                </a:lnTo>
                <a:cubicBezTo>
                  <a:pt x="1267285" y="5563529"/>
                  <a:pt x="1293391" y="5537423"/>
                  <a:pt x="1325978" y="5523641"/>
                </a:cubicBezTo>
                <a:lnTo>
                  <a:pt x="1369746" y="5514804"/>
                </a:lnTo>
                <a:close/>
                <a:moveTo>
                  <a:pt x="9583907" y="3506125"/>
                </a:moveTo>
                <a:lnTo>
                  <a:pt x="9740963" y="3506125"/>
                </a:lnTo>
                <a:lnTo>
                  <a:pt x="9740963" y="3995469"/>
                </a:lnTo>
                <a:lnTo>
                  <a:pt x="9490281" y="3744788"/>
                </a:lnTo>
                <a:cubicBezTo>
                  <a:pt x="9490281" y="3744787"/>
                  <a:pt x="9490279" y="3744787"/>
                  <a:pt x="9490279" y="3744786"/>
                </a:cubicBezTo>
                <a:lnTo>
                  <a:pt x="9470329" y="3724837"/>
                </a:lnTo>
                <a:lnTo>
                  <a:pt x="9449177" y="3693462"/>
                </a:lnTo>
                <a:cubicBezTo>
                  <a:pt x="9442285" y="3677168"/>
                  <a:pt x="9438473" y="3659255"/>
                  <a:pt x="9438473" y="3640451"/>
                </a:cubicBezTo>
                <a:cubicBezTo>
                  <a:pt x="9438473" y="3584038"/>
                  <a:pt x="9472773" y="3535637"/>
                  <a:pt x="9521653" y="3514963"/>
                </a:cubicBezTo>
                <a:lnTo>
                  <a:pt x="9565421" y="3506126"/>
                </a:lnTo>
                <a:lnTo>
                  <a:pt x="9583907" y="3506126"/>
                </a:lnTo>
                <a:close/>
                <a:moveTo>
                  <a:pt x="9014977" y="3506125"/>
                </a:moveTo>
                <a:cubicBezTo>
                  <a:pt x="9033781" y="3506125"/>
                  <a:pt x="9051695" y="3509936"/>
                  <a:pt x="9067989" y="3516828"/>
                </a:cubicBezTo>
                <a:lnTo>
                  <a:pt x="9104189" y="3541235"/>
                </a:lnTo>
                <a:lnTo>
                  <a:pt x="9740963" y="4178008"/>
                </a:lnTo>
                <a:lnTo>
                  <a:pt x="9740963" y="5360553"/>
                </a:lnTo>
                <a:lnTo>
                  <a:pt x="9022355" y="5360553"/>
                </a:lnTo>
                <a:lnTo>
                  <a:pt x="9003869" y="5360552"/>
                </a:lnTo>
                <a:lnTo>
                  <a:pt x="8960101" y="5351716"/>
                </a:lnTo>
                <a:cubicBezTo>
                  <a:pt x="8927513" y="5337933"/>
                  <a:pt x="8901407" y="5311827"/>
                  <a:pt x="8887625" y="5279239"/>
                </a:cubicBezTo>
                <a:lnTo>
                  <a:pt x="8878787" y="5235467"/>
                </a:lnTo>
                <a:lnTo>
                  <a:pt x="8878787" y="5216989"/>
                </a:lnTo>
                <a:lnTo>
                  <a:pt x="8878787" y="5216988"/>
                </a:lnTo>
                <a:lnTo>
                  <a:pt x="8878787" y="3642317"/>
                </a:lnTo>
                <a:lnTo>
                  <a:pt x="8878787" y="3642316"/>
                </a:lnTo>
                <a:cubicBezTo>
                  <a:pt x="8878787" y="3567100"/>
                  <a:pt x="8939761" y="3506125"/>
                  <a:pt x="9014977" y="3506125"/>
                </a:cubicBezTo>
                <a:close/>
                <a:moveTo>
                  <a:pt x="8615441" y="3506125"/>
                </a:moveTo>
                <a:cubicBezTo>
                  <a:pt x="8690657" y="3506125"/>
                  <a:pt x="8751631" y="3567100"/>
                  <a:pt x="8751631" y="3642316"/>
                </a:cubicBezTo>
                <a:lnTo>
                  <a:pt x="8751631" y="3642317"/>
                </a:lnTo>
                <a:lnTo>
                  <a:pt x="8751631" y="5216988"/>
                </a:lnTo>
                <a:lnTo>
                  <a:pt x="8751631" y="5216989"/>
                </a:lnTo>
                <a:lnTo>
                  <a:pt x="8751631" y="5235467"/>
                </a:lnTo>
                <a:lnTo>
                  <a:pt x="8742793" y="5279239"/>
                </a:lnTo>
                <a:cubicBezTo>
                  <a:pt x="8729011" y="5311827"/>
                  <a:pt x="8702905" y="5337933"/>
                  <a:pt x="8670317" y="5351716"/>
                </a:cubicBezTo>
                <a:lnTo>
                  <a:pt x="8626549" y="5360552"/>
                </a:lnTo>
                <a:lnTo>
                  <a:pt x="8608063" y="5360553"/>
                </a:lnTo>
                <a:lnTo>
                  <a:pt x="7039199" y="5360553"/>
                </a:lnTo>
                <a:lnTo>
                  <a:pt x="7039199" y="5360552"/>
                </a:lnTo>
                <a:lnTo>
                  <a:pt x="7020713" y="5360552"/>
                </a:lnTo>
                <a:lnTo>
                  <a:pt x="6976945" y="5351716"/>
                </a:lnTo>
                <a:cubicBezTo>
                  <a:pt x="6928065" y="5331042"/>
                  <a:pt x="6893765" y="5282640"/>
                  <a:pt x="6893765" y="5226228"/>
                </a:cubicBezTo>
                <a:cubicBezTo>
                  <a:pt x="6893765" y="5207424"/>
                  <a:pt x="6897577" y="5189510"/>
                  <a:pt x="6904469" y="5173216"/>
                </a:cubicBezTo>
                <a:lnTo>
                  <a:pt x="6925621" y="5141842"/>
                </a:lnTo>
                <a:lnTo>
                  <a:pt x="6945571" y="5121892"/>
                </a:lnTo>
                <a:cubicBezTo>
                  <a:pt x="6945571" y="5121892"/>
                  <a:pt x="6945573" y="5121892"/>
                  <a:pt x="6945573" y="5121891"/>
                </a:cubicBezTo>
                <a:lnTo>
                  <a:pt x="8526229" y="3541235"/>
                </a:lnTo>
                <a:lnTo>
                  <a:pt x="8562429" y="3516828"/>
                </a:lnTo>
                <a:cubicBezTo>
                  <a:pt x="8578723" y="3509936"/>
                  <a:pt x="8596637" y="3506125"/>
                  <a:pt x="8615441" y="3506125"/>
                </a:cubicBezTo>
                <a:close/>
                <a:moveTo>
                  <a:pt x="6477647" y="3506125"/>
                </a:moveTo>
                <a:lnTo>
                  <a:pt x="8046511" y="3506125"/>
                </a:lnTo>
                <a:lnTo>
                  <a:pt x="8046511" y="3506126"/>
                </a:lnTo>
                <a:lnTo>
                  <a:pt x="8064997" y="3506126"/>
                </a:lnTo>
                <a:lnTo>
                  <a:pt x="8108765" y="3514963"/>
                </a:lnTo>
                <a:cubicBezTo>
                  <a:pt x="8157647" y="3535637"/>
                  <a:pt x="8191945" y="3584038"/>
                  <a:pt x="8191945" y="3640451"/>
                </a:cubicBezTo>
                <a:cubicBezTo>
                  <a:pt x="8191945" y="3659255"/>
                  <a:pt x="8188133" y="3677168"/>
                  <a:pt x="8181241" y="3693462"/>
                </a:cubicBezTo>
                <a:lnTo>
                  <a:pt x="8160089" y="3724837"/>
                </a:lnTo>
                <a:lnTo>
                  <a:pt x="8140139" y="3744786"/>
                </a:lnTo>
                <a:cubicBezTo>
                  <a:pt x="8140139" y="3744787"/>
                  <a:pt x="8140139" y="3744787"/>
                  <a:pt x="8140137" y="3744788"/>
                </a:cubicBezTo>
                <a:lnTo>
                  <a:pt x="6559481" y="5325443"/>
                </a:lnTo>
                <a:lnTo>
                  <a:pt x="6523281" y="5349850"/>
                </a:lnTo>
                <a:cubicBezTo>
                  <a:pt x="6506987" y="5356742"/>
                  <a:pt x="6489073" y="5360553"/>
                  <a:pt x="6470269" y="5360553"/>
                </a:cubicBezTo>
                <a:cubicBezTo>
                  <a:pt x="6395053" y="5360553"/>
                  <a:pt x="6334079" y="5299579"/>
                  <a:pt x="6334079" y="5224362"/>
                </a:cubicBezTo>
                <a:lnTo>
                  <a:pt x="6334079" y="3649690"/>
                </a:lnTo>
                <a:lnTo>
                  <a:pt x="6334079" y="3649689"/>
                </a:lnTo>
                <a:lnTo>
                  <a:pt x="6334079" y="3631211"/>
                </a:lnTo>
                <a:lnTo>
                  <a:pt x="6342917" y="3587439"/>
                </a:lnTo>
                <a:cubicBezTo>
                  <a:pt x="6356699" y="3554851"/>
                  <a:pt x="6382805" y="3528745"/>
                  <a:pt x="6415393" y="3514963"/>
                </a:cubicBezTo>
                <a:lnTo>
                  <a:pt x="6459161" y="3506126"/>
                </a:lnTo>
                <a:close/>
                <a:moveTo>
                  <a:pt x="4494492" y="3506125"/>
                </a:moveTo>
                <a:lnTo>
                  <a:pt x="6063355" y="3506125"/>
                </a:lnTo>
                <a:lnTo>
                  <a:pt x="6081841" y="3506126"/>
                </a:lnTo>
                <a:lnTo>
                  <a:pt x="6125609" y="3514963"/>
                </a:lnTo>
                <a:cubicBezTo>
                  <a:pt x="6158197" y="3528745"/>
                  <a:pt x="6184303" y="3554851"/>
                  <a:pt x="6198085" y="3587439"/>
                </a:cubicBezTo>
                <a:lnTo>
                  <a:pt x="6206923" y="3631211"/>
                </a:lnTo>
                <a:lnTo>
                  <a:pt x="6206923" y="3649689"/>
                </a:lnTo>
                <a:lnTo>
                  <a:pt x="6206923" y="3649690"/>
                </a:lnTo>
                <a:lnTo>
                  <a:pt x="6206923" y="5224362"/>
                </a:lnTo>
                <a:cubicBezTo>
                  <a:pt x="6206923" y="5299579"/>
                  <a:pt x="6145949" y="5360553"/>
                  <a:pt x="6070733" y="5360553"/>
                </a:cubicBezTo>
                <a:cubicBezTo>
                  <a:pt x="6051929" y="5360553"/>
                  <a:pt x="6034015" y="5356742"/>
                  <a:pt x="6017721" y="5349850"/>
                </a:cubicBezTo>
                <a:lnTo>
                  <a:pt x="5981521" y="5325443"/>
                </a:lnTo>
                <a:lnTo>
                  <a:pt x="4400866" y="3744788"/>
                </a:lnTo>
                <a:cubicBezTo>
                  <a:pt x="4400864" y="3744787"/>
                  <a:pt x="4400864" y="3744787"/>
                  <a:pt x="4400864" y="3744786"/>
                </a:cubicBezTo>
                <a:lnTo>
                  <a:pt x="4380913" y="3724837"/>
                </a:lnTo>
                <a:lnTo>
                  <a:pt x="4359762" y="3693462"/>
                </a:lnTo>
                <a:cubicBezTo>
                  <a:pt x="4352870" y="3677168"/>
                  <a:pt x="4349058" y="3659255"/>
                  <a:pt x="4349058" y="3640451"/>
                </a:cubicBezTo>
                <a:cubicBezTo>
                  <a:pt x="4349058" y="3584038"/>
                  <a:pt x="4383357" y="3535637"/>
                  <a:pt x="4432239" y="3514963"/>
                </a:cubicBezTo>
                <a:lnTo>
                  <a:pt x="4476005" y="3506126"/>
                </a:lnTo>
                <a:lnTo>
                  <a:pt x="4494492" y="3506126"/>
                </a:lnTo>
                <a:close/>
                <a:moveTo>
                  <a:pt x="3925563" y="3506125"/>
                </a:moveTo>
                <a:cubicBezTo>
                  <a:pt x="3944366" y="3506125"/>
                  <a:pt x="3962280" y="3509936"/>
                  <a:pt x="3978574" y="3516828"/>
                </a:cubicBezTo>
                <a:lnTo>
                  <a:pt x="4014774" y="3541235"/>
                </a:lnTo>
                <a:lnTo>
                  <a:pt x="5595430" y="5121891"/>
                </a:lnTo>
                <a:cubicBezTo>
                  <a:pt x="5595430" y="5121892"/>
                  <a:pt x="5595431" y="5121892"/>
                  <a:pt x="5595432" y="5121892"/>
                </a:cubicBezTo>
                <a:lnTo>
                  <a:pt x="5615381" y="5141842"/>
                </a:lnTo>
                <a:lnTo>
                  <a:pt x="5636534" y="5173216"/>
                </a:lnTo>
                <a:cubicBezTo>
                  <a:pt x="5643426" y="5189510"/>
                  <a:pt x="5647237" y="5207424"/>
                  <a:pt x="5647237" y="5226228"/>
                </a:cubicBezTo>
                <a:cubicBezTo>
                  <a:pt x="5647237" y="5282640"/>
                  <a:pt x="5612938" y="5331042"/>
                  <a:pt x="5564057" y="5351716"/>
                </a:cubicBezTo>
                <a:lnTo>
                  <a:pt x="5520289" y="5360552"/>
                </a:lnTo>
                <a:lnTo>
                  <a:pt x="5501803" y="5360552"/>
                </a:lnTo>
                <a:lnTo>
                  <a:pt x="5501803" y="5360553"/>
                </a:lnTo>
                <a:lnTo>
                  <a:pt x="3932940" y="5360553"/>
                </a:lnTo>
                <a:lnTo>
                  <a:pt x="3914454" y="5360552"/>
                </a:lnTo>
                <a:lnTo>
                  <a:pt x="3870687" y="5351716"/>
                </a:lnTo>
                <a:cubicBezTo>
                  <a:pt x="3838098" y="5337933"/>
                  <a:pt x="3811993" y="5311827"/>
                  <a:pt x="3798210" y="5279239"/>
                </a:cubicBezTo>
                <a:lnTo>
                  <a:pt x="3789372" y="5235467"/>
                </a:lnTo>
                <a:lnTo>
                  <a:pt x="3789372" y="5216988"/>
                </a:lnTo>
                <a:lnTo>
                  <a:pt x="3789371" y="5216989"/>
                </a:lnTo>
                <a:lnTo>
                  <a:pt x="3789371" y="3642317"/>
                </a:lnTo>
                <a:lnTo>
                  <a:pt x="3789371" y="3642316"/>
                </a:lnTo>
                <a:cubicBezTo>
                  <a:pt x="3789371" y="3567100"/>
                  <a:pt x="3850346" y="3506125"/>
                  <a:pt x="3925563" y="3506125"/>
                </a:cubicBezTo>
                <a:close/>
                <a:moveTo>
                  <a:pt x="3526024" y="3506125"/>
                </a:moveTo>
                <a:cubicBezTo>
                  <a:pt x="3601241" y="3506125"/>
                  <a:pt x="3662215" y="3567100"/>
                  <a:pt x="3662215" y="3642316"/>
                </a:cubicBezTo>
                <a:lnTo>
                  <a:pt x="3662215" y="3642317"/>
                </a:lnTo>
                <a:lnTo>
                  <a:pt x="3662215" y="5216988"/>
                </a:lnTo>
                <a:lnTo>
                  <a:pt x="3662215" y="5216989"/>
                </a:lnTo>
                <a:lnTo>
                  <a:pt x="3662215" y="5235467"/>
                </a:lnTo>
                <a:lnTo>
                  <a:pt x="3653377" y="5279239"/>
                </a:lnTo>
                <a:cubicBezTo>
                  <a:pt x="3639594" y="5311827"/>
                  <a:pt x="3613489" y="5337933"/>
                  <a:pt x="3580900" y="5351716"/>
                </a:cubicBezTo>
                <a:lnTo>
                  <a:pt x="3537132" y="5360552"/>
                </a:lnTo>
                <a:lnTo>
                  <a:pt x="3518647" y="5360553"/>
                </a:lnTo>
                <a:lnTo>
                  <a:pt x="1949784" y="5360553"/>
                </a:lnTo>
                <a:lnTo>
                  <a:pt x="1949784" y="5360552"/>
                </a:lnTo>
                <a:lnTo>
                  <a:pt x="1931296" y="5360552"/>
                </a:lnTo>
                <a:lnTo>
                  <a:pt x="1887528" y="5351716"/>
                </a:lnTo>
                <a:cubicBezTo>
                  <a:pt x="1838647" y="5331042"/>
                  <a:pt x="1804350" y="5282640"/>
                  <a:pt x="1804350" y="5226228"/>
                </a:cubicBezTo>
                <a:cubicBezTo>
                  <a:pt x="1804350" y="5207424"/>
                  <a:pt x="1808160" y="5189510"/>
                  <a:pt x="1815052" y="5173216"/>
                </a:cubicBezTo>
                <a:lnTo>
                  <a:pt x="1836205" y="5141842"/>
                </a:lnTo>
                <a:lnTo>
                  <a:pt x="1856154" y="5121892"/>
                </a:lnTo>
                <a:cubicBezTo>
                  <a:pt x="1856156" y="5121892"/>
                  <a:pt x="1856156" y="5121892"/>
                  <a:pt x="1856156" y="5121891"/>
                </a:cubicBezTo>
                <a:lnTo>
                  <a:pt x="3436812" y="3541235"/>
                </a:lnTo>
                <a:lnTo>
                  <a:pt x="3473013" y="3516828"/>
                </a:lnTo>
                <a:cubicBezTo>
                  <a:pt x="3489307" y="3509936"/>
                  <a:pt x="3507220" y="3506125"/>
                  <a:pt x="3526024" y="3506125"/>
                </a:cubicBezTo>
                <a:close/>
                <a:moveTo>
                  <a:pt x="9740963" y="2862533"/>
                </a:moveTo>
                <a:lnTo>
                  <a:pt x="9740963" y="3351876"/>
                </a:lnTo>
                <a:lnTo>
                  <a:pt x="9583907" y="3351876"/>
                </a:lnTo>
                <a:lnTo>
                  <a:pt x="9583907" y="3351875"/>
                </a:lnTo>
                <a:lnTo>
                  <a:pt x="9565421" y="3351875"/>
                </a:lnTo>
                <a:lnTo>
                  <a:pt x="9521653" y="3343039"/>
                </a:lnTo>
                <a:cubicBezTo>
                  <a:pt x="9472773" y="3322365"/>
                  <a:pt x="9438473" y="3273963"/>
                  <a:pt x="9438473" y="3217551"/>
                </a:cubicBezTo>
                <a:cubicBezTo>
                  <a:pt x="9438473" y="3198748"/>
                  <a:pt x="9442285" y="3180834"/>
                  <a:pt x="9449177" y="3164541"/>
                </a:cubicBezTo>
                <a:lnTo>
                  <a:pt x="9470329" y="3133166"/>
                </a:lnTo>
                <a:lnTo>
                  <a:pt x="9490279" y="3113216"/>
                </a:lnTo>
                <a:cubicBezTo>
                  <a:pt x="9490279" y="3113216"/>
                  <a:pt x="9490281" y="3113216"/>
                  <a:pt x="9490281" y="3113215"/>
                </a:cubicBezTo>
                <a:close/>
                <a:moveTo>
                  <a:pt x="9022355" y="1497450"/>
                </a:moveTo>
                <a:lnTo>
                  <a:pt x="9740963" y="1497450"/>
                </a:lnTo>
                <a:lnTo>
                  <a:pt x="9740963" y="2679993"/>
                </a:lnTo>
                <a:lnTo>
                  <a:pt x="9104189" y="3316766"/>
                </a:lnTo>
                <a:lnTo>
                  <a:pt x="9067989" y="3341173"/>
                </a:lnTo>
                <a:cubicBezTo>
                  <a:pt x="9051695" y="3348066"/>
                  <a:pt x="9033781" y="3351876"/>
                  <a:pt x="9014977" y="3351876"/>
                </a:cubicBezTo>
                <a:cubicBezTo>
                  <a:pt x="8939761" y="3351876"/>
                  <a:pt x="8878787" y="3290902"/>
                  <a:pt x="8878787" y="3215686"/>
                </a:cubicBezTo>
                <a:lnTo>
                  <a:pt x="8878787" y="3215685"/>
                </a:lnTo>
                <a:lnTo>
                  <a:pt x="8878787" y="1641015"/>
                </a:lnTo>
                <a:lnTo>
                  <a:pt x="8878787" y="1641014"/>
                </a:lnTo>
                <a:lnTo>
                  <a:pt x="8878787" y="1622536"/>
                </a:lnTo>
                <a:lnTo>
                  <a:pt x="8887625" y="1578764"/>
                </a:lnTo>
                <a:cubicBezTo>
                  <a:pt x="8901407" y="1546176"/>
                  <a:pt x="8927513" y="1520070"/>
                  <a:pt x="8960101" y="1506287"/>
                </a:cubicBezTo>
                <a:lnTo>
                  <a:pt x="9003869" y="1497451"/>
                </a:lnTo>
                <a:close/>
                <a:moveTo>
                  <a:pt x="7039199" y="1497450"/>
                </a:moveTo>
                <a:lnTo>
                  <a:pt x="8608063" y="1497450"/>
                </a:lnTo>
                <a:lnTo>
                  <a:pt x="8626549" y="1497451"/>
                </a:lnTo>
                <a:lnTo>
                  <a:pt x="8670317" y="1506287"/>
                </a:lnTo>
                <a:cubicBezTo>
                  <a:pt x="8702905" y="1520070"/>
                  <a:pt x="8729011" y="1546176"/>
                  <a:pt x="8742793" y="1578764"/>
                </a:cubicBezTo>
                <a:lnTo>
                  <a:pt x="8751631" y="1622536"/>
                </a:lnTo>
                <a:lnTo>
                  <a:pt x="8751631" y="1641014"/>
                </a:lnTo>
                <a:lnTo>
                  <a:pt x="8751631" y="1641015"/>
                </a:lnTo>
                <a:lnTo>
                  <a:pt x="8751631" y="3215685"/>
                </a:lnTo>
                <a:lnTo>
                  <a:pt x="8751631" y="3215686"/>
                </a:lnTo>
                <a:cubicBezTo>
                  <a:pt x="8751631" y="3290902"/>
                  <a:pt x="8690657" y="3351876"/>
                  <a:pt x="8615441" y="3351876"/>
                </a:cubicBezTo>
                <a:cubicBezTo>
                  <a:pt x="8596637" y="3351876"/>
                  <a:pt x="8578723" y="3348066"/>
                  <a:pt x="8562429" y="3341173"/>
                </a:cubicBezTo>
                <a:lnTo>
                  <a:pt x="8526229" y="3316766"/>
                </a:lnTo>
                <a:lnTo>
                  <a:pt x="6945573" y="1736112"/>
                </a:lnTo>
                <a:cubicBezTo>
                  <a:pt x="6945573" y="1736111"/>
                  <a:pt x="6945571" y="1736111"/>
                  <a:pt x="6945571" y="1736111"/>
                </a:cubicBezTo>
                <a:lnTo>
                  <a:pt x="6925621" y="1716161"/>
                </a:lnTo>
                <a:lnTo>
                  <a:pt x="6904469" y="1684787"/>
                </a:lnTo>
                <a:cubicBezTo>
                  <a:pt x="6897577" y="1668493"/>
                  <a:pt x="6893765" y="1650579"/>
                  <a:pt x="6893765" y="1631775"/>
                </a:cubicBezTo>
                <a:cubicBezTo>
                  <a:pt x="6893765" y="1575363"/>
                  <a:pt x="6928065" y="1526961"/>
                  <a:pt x="6976945" y="1506287"/>
                </a:cubicBezTo>
                <a:lnTo>
                  <a:pt x="7020713" y="1497451"/>
                </a:lnTo>
                <a:lnTo>
                  <a:pt x="7039199" y="1497451"/>
                </a:lnTo>
                <a:close/>
                <a:moveTo>
                  <a:pt x="6470269" y="1497450"/>
                </a:moveTo>
                <a:cubicBezTo>
                  <a:pt x="6489073" y="1497450"/>
                  <a:pt x="6506987" y="1501261"/>
                  <a:pt x="6523281" y="1508153"/>
                </a:cubicBezTo>
                <a:lnTo>
                  <a:pt x="6559481" y="1532560"/>
                </a:lnTo>
                <a:lnTo>
                  <a:pt x="8140137" y="3113215"/>
                </a:lnTo>
                <a:cubicBezTo>
                  <a:pt x="8140139" y="3113216"/>
                  <a:pt x="8140139" y="3113216"/>
                  <a:pt x="8140139" y="3113216"/>
                </a:cubicBezTo>
                <a:lnTo>
                  <a:pt x="8160089" y="3133166"/>
                </a:lnTo>
                <a:lnTo>
                  <a:pt x="8181241" y="3164541"/>
                </a:lnTo>
                <a:cubicBezTo>
                  <a:pt x="8188133" y="3180834"/>
                  <a:pt x="8191945" y="3198748"/>
                  <a:pt x="8191945" y="3217551"/>
                </a:cubicBezTo>
                <a:cubicBezTo>
                  <a:pt x="8191945" y="3273963"/>
                  <a:pt x="8157647" y="3322365"/>
                  <a:pt x="8108765" y="3343039"/>
                </a:cubicBezTo>
                <a:lnTo>
                  <a:pt x="8064997" y="3351875"/>
                </a:lnTo>
                <a:lnTo>
                  <a:pt x="8046511" y="3351875"/>
                </a:lnTo>
                <a:lnTo>
                  <a:pt x="8046511" y="3351876"/>
                </a:lnTo>
                <a:lnTo>
                  <a:pt x="6477647" y="3351876"/>
                </a:lnTo>
                <a:lnTo>
                  <a:pt x="6459161" y="3351875"/>
                </a:lnTo>
                <a:lnTo>
                  <a:pt x="6415393" y="3343039"/>
                </a:lnTo>
                <a:cubicBezTo>
                  <a:pt x="6382805" y="3329256"/>
                  <a:pt x="6356699" y="3303150"/>
                  <a:pt x="6342917" y="3270562"/>
                </a:cubicBezTo>
                <a:lnTo>
                  <a:pt x="6334079" y="3226790"/>
                </a:lnTo>
                <a:lnTo>
                  <a:pt x="6334079" y="3208313"/>
                </a:lnTo>
                <a:lnTo>
                  <a:pt x="6334079" y="3208312"/>
                </a:lnTo>
                <a:lnTo>
                  <a:pt x="6334079" y="1633642"/>
                </a:lnTo>
                <a:lnTo>
                  <a:pt x="6334079" y="1633641"/>
                </a:lnTo>
                <a:cubicBezTo>
                  <a:pt x="6334079" y="1558425"/>
                  <a:pt x="6395053" y="1497450"/>
                  <a:pt x="6470269" y="1497450"/>
                </a:cubicBezTo>
                <a:close/>
                <a:moveTo>
                  <a:pt x="6070733" y="1497450"/>
                </a:moveTo>
                <a:cubicBezTo>
                  <a:pt x="6145949" y="1497450"/>
                  <a:pt x="6206923" y="1558425"/>
                  <a:pt x="6206923" y="1633641"/>
                </a:cubicBezTo>
                <a:lnTo>
                  <a:pt x="6206923" y="1633642"/>
                </a:lnTo>
                <a:lnTo>
                  <a:pt x="6206923" y="3208312"/>
                </a:lnTo>
                <a:lnTo>
                  <a:pt x="6206923" y="3208313"/>
                </a:lnTo>
                <a:lnTo>
                  <a:pt x="6206923" y="3226790"/>
                </a:lnTo>
                <a:lnTo>
                  <a:pt x="6198085" y="3270562"/>
                </a:lnTo>
                <a:cubicBezTo>
                  <a:pt x="6184303" y="3303150"/>
                  <a:pt x="6158197" y="3329256"/>
                  <a:pt x="6125609" y="3343039"/>
                </a:cubicBezTo>
                <a:lnTo>
                  <a:pt x="6081841" y="3351875"/>
                </a:lnTo>
                <a:lnTo>
                  <a:pt x="6063355" y="3351876"/>
                </a:lnTo>
                <a:lnTo>
                  <a:pt x="4494492" y="3351876"/>
                </a:lnTo>
                <a:lnTo>
                  <a:pt x="4494492" y="3351875"/>
                </a:lnTo>
                <a:lnTo>
                  <a:pt x="4476005" y="3351875"/>
                </a:lnTo>
                <a:lnTo>
                  <a:pt x="4432239" y="3343039"/>
                </a:lnTo>
                <a:cubicBezTo>
                  <a:pt x="4383357" y="3322365"/>
                  <a:pt x="4349059" y="3273963"/>
                  <a:pt x="4349059" y="3217551"/>
                </a:cubicBezTo>
                <a:cubicBezTo>
                  <a:pt x="4349059" y="3198748"/>
                  <a:pt x="4352870" y="3180834"/>
                  <a:pt x="4359762" y="3164541"/>
                </a:cubicBezTo>
                <a:lnTo>
                  <a:pt x="4380915" y="3133166"/>
                </a:lnTo>
                <a:lnTo>
                  <a:pt x="4400864" y="3113216"/>
                </a:lnTo>
                <a:cubicBezTo>
                  <a:pt x="4400864" y="3113216"/>
                  <a:pt x="4400864" y="3113216"/>
                  <a:pt x="4400867" y="3113215"/>
                </a:cubicBezTo>
                <a:lnTo>
                  <a:pt x="5981521" y="1532560"/>
                </a:lnTo>
                <a:lnTo>
                  <a:pt x="6017721" y="1508153"/>
                </a:lnTo>
                <a:cubicBezTo>
                  <a:pt x="6034015" y="1501261"/>
                  <a:pt x="6051929" y="1497450"/>
                  <a:pt x="6070733" y="1497450"/>
                </a:cubicBezTo>
                <a:close/>
                <a:moveTo>
                  <a:pt x="3932943" y="1497450"/>
                </a:moveTo>
                <a:lnTo>
                  <a:pt x="5501803" y="1497450"/>
                </a:lnTo>
                <a:lnTo>
                  <a:pt x="5501803" y="1497451"/>
                </a:lnTo>
                <a:lnTo>
                  <a:pt x="5520290" y="1497451"/>
                </a:lnTo>
                <a:lnTo>
                  <a:pt x="5564058" y="1506287"/>
                </a:lnTo>
                <a:cubicBezTo>
                  <a:pt x="5612939" y="1526961"/>
                  <a:pt x="5647237" y="1575363"/>
                  <a:pt x="5647237" y="1631775"/>
                </a:cubicBezTo>
                <a:cubicBezTo>
                  <a:pt x="5647237" y="1650579"/>
                  <a:pt x="5643426" y="1668493"/>
                  <a:pt x="5636534" y="1684787"/>
                </a:cubicBezTo>
                <a:lnTo>
                  <a:pt x="5615382" y="1716161"/>
                </a:lnTo>
                <a:lnTo>
                  <a:pt x="5595432" y="1736111"/>
                </a:lnTo>
                <a:cubicBezTo>
                  <a:pt x="5595431" y="1736111"/>
                  <a:pt x="5595431" y="1736111"/>
                  <a:pt x="5595430" y="1736112"/>
                </a:cubicBezTo>
                <a:lnTo>
                  <a:pt x="4014775" y="3316766"/>
                </a:lnTo>
                <a:lnTo>
                  <a:pt x="3978575" y="3341173"/>
                </a:lnTo>
                <a:cubicBezTo>
                  <a:pt x="3962281" y="3348066"/>
                  <a:pt x="3944366" y="3351876"/>
                  <a:pt x="3925563" y="3351876"/>
                </a:cubicBezTo>
                <a:cubicBezTo>
                  <a:pt x="3850347" y="3351876"/>
                  <a:pt x="3789371" y="3290902"/>
                  <a:pt x="3789371" y="3215686"/>
                </a:cubicBezTo>
                <a:lnTo>
                  <a:pt x="3789371" y="3215685"/>
                </a:lnTo>
                <a:lnTo>
                  <a:pt x="3789372" y="1641014"/>
                </a:lnTo>
                <a:lnTo>
                  <a:pt x="3789374" y="1641015"/>
                </a:lnTo>
                <a:lnTo>
                  <a:pt x="3789374" y="1622536"/>
                </a:lnTo>
                <a:lnTo>
                  <a:pt x="3798210" y="1578764"/>
                </a:lnTo>
                <a:cubicBezTo>
                  <a:pt x="3811994" y="1546176"/>
                  <a:pt x="3838100" y="1520070"/>
                  <a:pt x="3870687" y="1506287"/>
                </a:cubicBezTo>
                <a:lnTo>
                  <a:pt x="3914456" y="1497451"/>
                </a:lnTo>
                <a:close/>
                <a:moveTo>
                  <a:pt x="1949785" y="1497450"/>
                </a:moveTo>
                <a:lnTo>
                  <a:pt x="3518648" y="1497450"/>
                </a:lnTo>
                <a:lnTo>
                  <a:pt x="3537134" y="1497451"/>
                </a:lnTo>
                <a:lnTo>
                  <a:pt x="3580902" y="1506287"/>
                </a:lnTo>
                <a:cubicBezTo>
                  <a:pt x="3613490" y="1520070"/>
                  <a:pt x="3639597" y="1546176"/>
                  <a:pt x="3653380" y="1578764"/>
                </a:cubicBezTo>
                <a:lnTo>
                  <a:pt x="3662216" y="1622536"/>
                </a:lnTo>
                <a:lnTo>
                  <a:pt x="3662216" y="1641015"/>
                </a:lnTo>
                <a:lnTo>
                  <a:pt x="3662218" y="1641014"/>
                </a:lnTo>
                <a:lnTo>
                  <a:pt x="3662217" y="3215685"/>
                </a:lnTo>
                <a:lnTo>
                  <a:pt x="3662217" y="3215686"/>
                </a:lnTo>
                <a:cubicBezTo>
                  <a:pt x="3662217" y="3290902"/>
                  <a:pt x="3601242" y="3351876"/>
                  <a:pt x="3526026" y="3351876"/>
                </a:cubicBezTo>
                <a:cubicBezTo>
                  <a:pt x="3507221" y="3351876"/>
                  <a:pt x="3489308" y="3348066"/>
                  <a:pt x="3473014" y="3341173"/>
                </a:cubicBezTo>
                <a:lnTo>
                  <a:pt x="3436813" y="3316766"/>
                </a:lnTo>
                <a:lnTo>
                  <a:pt x="1856157" y="1736112"/>
                </a:lnTo>
                <a:cubicBezTo>
                  <a:pt x="1856157" y="1736111"/>
                  <a:pt x="1856156" y="1736111"/>
                  <a:pt x="1856156" y="1736111"/>
                </a:cubicBezTo>
                <a:lnTo>
                  <a:pt x="1836206" y="1716161"/>
                </a:lnTo>
                <a:lnTo>
                  <a:pt x="1815054" y="1684787"/>
                </a:lnTo>
                <a:cubicBezTo>
                  <a:pt x="1808163" y="1668493"/>
                  <a:pt x="1804351" y="1650579"/>
                  <a:pt x="1804351" y="1631775"/>
                </a:cubicBezTo>
                <a:cubicBezTo>
                  <a:pt x="1804351" y="1575363"/>
                  <a:pt x="1838650" y="1526961"/>
                  <a:pt x="1887531" y="1506287"/>
                </a:cubicBezTo>
                <a:lnTo>
                  <a:pt x="1931299" y="1497451"/>
                </a:lnTo>
                <a:lnTo>
                  <a:pt x="1949785" y="1497451"/>
                </a:lnTo>
                <a:close/>
                <a:moveTo>
                  <a:pt x="9740963" y="853857"/>
                </a:moveTo>
                <a:lnTo>
                  <a:pt x="9740963" y="1343201"/>
                </a:lnTo>
                <a:lnTo>
                  <a:pt x="9583907" y="1343201"/>
                </a:lnTo>
                <a:lnTo>
                  <a:pt x="9583907" y="1343200"/>
                </a:lnTo>
                <a:lnTo>
                  <a:pt x="9565421" y="1343200"/>
                </a:lnTo>
                <a:lnTo>
                  <a:pt x="9521653" y="1334363"/>
                </a:lnTo>
                <a:cubicBezTo>
                  <a:pt x="9472773" y="1313689"/>
                  <a:pt x="9438473" y="1265288"/>
                  <a:pt x="9438473" y="1208876"/>
                </a:cubicBezTo>
                <a:cubicBezTo>
                  <a:pt x="9438473" y="1190072"/>
                  <a:pt x="9442285" y="1172158"/>
                  <a:pt x="9449177" y="1155864"/>
                </a:cubicBezTo>
                <a:lnTo>
                  <a:pt x="9470329" y="1124490"/>
                </a:lnTo>
                <a:lnTo>
                  <a:pt x="9490279" y="1104541"/>
                </a:lnTo>
                <a:cubicBezTo>
                  <a:pt x="9490279" y="1104540"/>
                  <a:pt x="9490281" y="1104540"/>
                  <a:pt x="9490281" y="1104539"/>
                </a:cubicBezTo>
                <a:close/>
                <a:moveTo>
                  <a:pt x="8878787" y="0"/>
                </a:moveTo>
                <a:lnTo>
                  <a:pt x="9740963" y="0"/>
                </a:lnTo>
                <a:lnTo>
                  <a:pt x="9740963" y="671317"/>
                </a:lnTo>
                <a:lnTo>
                  <a:pt x="9104189" y="1308091"/>
                </a:lnTo>
                <a:lnTo>
                  <a:pt x="9067989" y="1332498"/>
                </a:lnTo>
                <a:cubicBezTo>
                  <a:pt x="9051695" y="1339390"/>
                  <a:pt x="9033781" y="1343201"/>
                  <a:pt x="9014977" y="1343201"/>
                </a:cubicBezTo>
                <a:cubicBezTo>
                  <a:pt x="8939761" y="1343201"/>
                  <a:pt x="8878787" y="1282226"/>
                  <a:pt x="8878787" y="1207011"/>
                </a:cubicBezTo>
                <a:lnTo>
                  <a:pt x="8878787" y="1207009"/>
                </a:lnTo>
                <a:close/>
                <a:moveTo>
                  <a:pt x="7218138" y="0"/>
                </a:moveTo>
                <a:lnTo>
                  <a:pt x="8751631" y="0"/>
                </a:lnTo>
                <a:lnTo>
                  <a:pt x="8751631" y="1207009"/>
                </a:lnTo>
                <a:lnTo>
                  <a:pt x="8751631" y="1207011"/>
                </a:lnTo>
                <a:cubicBezTo>
                  <a:pt x="8751631" y="1282226"/>
                  <a:pt x="8690657" y="1343201"/>
                  <a:pt x="8615441" y="1343201"/>
                </a:cubicBezTo>
                <a:cubicBezTo>
                  <a:pt x="8596637" y="1343201"/>
                  <a:pt x="8578723" y="1339390"/>
                  <a:pt x="8562429" y="1332498"/>
                </a:cubicBezTo>
                <a:lnTo>
                  <a:pt x="8526229" y="1308091"/>
                </a:lnTo>
                <a:close/>
                <a:moveTo>
                  <a:pt x="6334079" y="0"/>
                </a:moveTo>
                <a:lnTo>
                  <a:pt x="7035598" y="0"/>
                </a:lnTo>
                <a:lnTo>
                  <a:pt x="8140137" y="1104539"/>
                </a:lnTo>
                <a:cubicBezTo>
                  <a:pt x="8140139" y="1104540"/>
                  <a:pt x="8140139" y="1104540"/>
                  <a:pt x="8140139" y="1104541"/>
                </a:cubicBezTo>
                <a:lnTo>
                  <a:pt x="8160089" y="1124490"/>
                </a:lnTo>
                <a:lnTo>
                  <a:pt x="8181241" y="1155864"/>
                </a:lnTo>
                <a:cubicBezTo>
                  <a:pt x="8188133" y="1172158"/>
                  <a:pt x="8191945" y="1190072"/>
                  <a:pt x="8191945" y="1208876"/>
                </a:cubicBezTo>
                <a:cubicBezTo>
                  <a:pt x="8191945" y="1265288"/>
                  <a:pt x="8157647" y="1313689"/>
                  <a:pt x="8108765" y="1334363"/>
                </a:cubicBezTo>
                <a:lnTo>
                  <a:pt x="8064997" y="1343200"/>
                </a:lnTo>
                <a:lnTo>
                  <a:pt x="8046511" y="1343200"/>
                </a:lnTo>
                <a:lnTo>
                  <a:pt x="8046511" y="1343201"/>
                </a:lnTo>
                <a:lnTo>
                  <a:pt x="6477647" y="1343201"/>
                </a:lnTo>
                <a:lnTo>
                  <a:pt x="6459161" y="1343200"/>
                </a:lnTo>
                <a:lnTo>
                  <a:pt x="6415393" y="1334363"/>
                </a:lnTo>
                <a:cubicBezTo>
                  <a:pt x="6382805" y="1320581"/>
                  <a:pt x="6356699" y="1294475"/>
                  <a:pt x="6342917" y="1261887"/>
                </a:cubicBezTo>
                <a:lnTo>
                  <a:pt x="6334079" y="1218115"/>
                </a:lnTo>
                <a:lnTo>
                  <a:pt x="6334079" y="1199637"/>
                </a:lnTo>
                <a:lnTo>
                  <a:pt x="6334079" y="1199636"/>
                </a:lnTo>
                <a:close/>
                <a:moveTo>
                  <a:pt x="5505405" y="0"/>
                </a:moveTo>
                <a:lnTo>
                  <a:pt x="6206923" y="0"/>
                </a:lnTo>
                <a:lnTo>
                  <a:pt x="6206923" y="1199636"/>
                </a:lnTo>
                <a:lnTo>
                  <a:pt x="6206923" y="1199637"/>
                </a:lnTo>
                <a:lnTo>
                  <a:pt x="6206923" y="1218115"/>
                </a:lnTo>
                <a:lnTo>
                  <a:pt x="6198085" y="1261887"/>
                </a:lnTo>
                <a:cubicBezTo>
                  <a:pt x="6184303" y="1294475"/>
                  <a:pt x="6158197" y="1320581"/>
                  <a:pt x="6125609" y="1334363"/>
                </a:cubicBezTo>
                <a:lnTo>
                  <a:pt x="6081841" y="1343200"/>
                </a:lnTo>
                <a:lnTo>
                  <a:pt x="6063355" y="1343201"/>
                </a:lnTo>
                <a:lnTo>
                  <a:pt x="4494493" y="1343201"/>
                </a:lnTo>
                <a:lnTo>
                  <a:pt x="4494493" y="1343200"/>
                </a:lnTo>
                <a:lnTo>
                  <a:pt x="4476006" y="1343200"/>
                </a:lnTo>
                <a:lnTo>
                  <a:pt x="4432239" y="1334363"/>
                </a:lnTo>
                <a:cubicBezTo>
                  <a:pt x="4383357" y="1313689"/>
                  <a:pt x="4349060" y="1265288"/>
                  <a:pt x="4349060" y="1208876"/>
                </a:cubicBezTo>
                <a:cubicBezTo>
                  <a:pt x="4349060" y="1190072"/>
                  <a:pt x="4352871" y="1172158"/>
                  <a:pt x="4359762" y="1155864"/>
                </a:cubicBezTo>
                <a:lnTo>
                  <a:pt x="4380915" y="1124490"/>
                </a:lnTo>
                <a:lnTo>
                  <a:pt x="4400865" y="1104541"/>
                </a:lnTo>
                <a:cubicBezTo>
                  <a:pt x="4400865" y="1104540"/>
                  <a:pt x="4400865" y="1104540"/>
                  <a:pt x="4400867" y="1104539"/>
                </a:cubicBezTo>
                <a:close/>
                <a:moveTo>
                  <a:pt x="3789372" y="0"/>
                </a:moveTo>
                <a:lnTo>
                  <a:pt x="5322865" y="0"/>
                </a:lnTo>
                <a:lnTo>
                  <a:pt x="4014775" y="1308091"/>
                </a:lnTo>
                <a:lnTo>
                  <a:pt x="3978576" y="1332498"/>
                </a:lnTo>
                <a:cubicBezTo>
                  <a:pt x="3962281" y="1339390"/>
                  <a:pt x="3944367" y="1343201"/>
                  <a:pt x="3925564" y="1343201"/>
                </a:cubicBezTo>
                <a:cubicBezTo>
                  <a:pt x="3850347" y="1343201"/>
                  <a:pt x="3789372" y="1282226"/>
                  <a:pt x="3789372" y="1207011"/>
                </a:cubicBezTo>
                <a:lnTo>
                  <a:pt x="3789372" y="1207009"/>
                </a:lnTo>
                <a:close/>
                <a:moveTo>
                  <a:pt x="2128722" y="0"/>
                </a:moveTo>
                <a:lnTo>
                  <a:pt x="3662218" y="0"/>
                </a:lnTo>
                <a:lnTo>
                  <a:pt x="3662218" y="1207009"/>
                </a:lnTo>
                <a:lnTo>
                  <a:pt x="3662218" y="1207011"/>
                </a:lnTo>
                <a:cubicBezTo>
                  <a:pt x="3662218" y="1282226"/>
                  <a:pt x="3601243" y="1343201"/>
                  <a:pt x="3526026" y="1343201"/>
                </a:cubicBezTo>
                <a:cubicBezTo>
                  <a:pt x="3507222" y="1343201"/>
                  <a:pt x="3489309" y="1339390"/>
                  <a:pt x="3473015" y="1332498"/>
                </a:cubicBezTo>
                <a:lnTo>
                  <a:pt x="3436814" y="1308091"/>
                </a:lnTo>
                <a:close/>
                <a:moveTo>
                  <a:pt x="1244667" y="0"/>
                </a:moveTo>
                <a:lnTo>
                  <a:pt x="1946188" y="0"/>
                </a:lnTo>
                <a:lnTo>
                  <a:pt x="3050724" y="1104539"/>
                </a:lnTo>
                <a:cubicBezTo>
                  <a:pt x="3050724" y="1104540"/>
                  <a:pt x="3050724" y="1104540"/>
                  <a:pt x="3050726" y="1104541"/>
                </a:cubicBezTo>
                <a:lnTo>
                  <a:pt x="3070675" y="1124490"/>
                </a:lnTo>
                <a:lnTo>
                  <a:pt x="3091828" y="1155864"/>
                </a:lnTo>
                <a:cubicBezTo>
                  <a:pt x="3098719" y="1172158"/>
                  <a:pt x="3102530" y="1190072"/>
                  <a:pt x="3102530" y="1208876"/>
                </a:cubicBezTo>
                <a:cubicBezTo>
                  <a:pt x="3102530" y="1265288"/>
                  <a:pt x="3068231" y="1313689"/>
                  <a:pt x="3019351" y="1334363"/>
                </a:cubicBezTo>
                <a:lnTo>
                  <a:pt x="2975584" y="1343200"/>
                </a:lnTo>
                <a:lnTo>
                  <a:pt x="2957097" y="1343200"/>
                </a:lnTo>
                <a:lnTo>
                  <a:pt x="2957097" y="1343201"/>
                </a:lnTo>
                <a:lnTo>
                  <a:pt x="1388238" y="1343201"/>
                </a:lnTo>
                <a:lnTo>
                  <a:pt x="1369751" y="1343200"/>
                </a:lnTo>
                <a:lnTo>
                  <a:pt x="1325983" y="1334363"/>
                </a:lnTo>
                <a:cubicBezTo>
                  <a:pt x="1293396" y="1320581"/>
                  <a:pt x="1267290" y="1294475"/>
                  <a:pt x="1253507" y="1261887"/>
                </a:cubicBezTo>
                <a:lnTo>
                  <a:pt x="1244670" y="1218115"/>
                </a:lnTo>
                <a:lnTo>
                  <a:pt x="1244670" y="1199636"/>
                </a:lnTo>
                <a:lnTo>
                  <a:pt x="1244667" y="1199637"/>
                </a:lnTo>
                <a:close/>
                <a:moveTo>
                  <a:pt x="13126" y="0"/>
                </a:moveTo>
                <a:lnTo>
                  <a:pt x="1128917" y="0"/>
                </a:lnTo>
                <a:lnTo>
                  <a:pt x="1128917" y="783502"/>
                </a:lnTo>
                <a:lnTo>
                  <a:pt x="1128917" y="801988"/>
                </a:lnTo>
                <a:lnTo>
                  <a:pt x="1120079" y="845757"/>
                </a:lnTo>
                <a:cubicBezTo>
                  <a:pt x="1099407" y="894638"/>
                  <a:pt x="1051005" y="928936"/>
                  <a:pt x="994592" y="928936"/>
                </a:cubicBezTo>
                <a:cubicBezTo>
                  <a:pt x="975788" y="928936"/>
                  <a:pt x="957874" y="925125"/>
                  <a:pt x="941580" y="918233"/>
                </a:cubicBezTo>
                <a:lnTo>
                  <a:pt x="910206" y="897080"/>
                </a:lnTo>
                <a:lnTo>
                  <a:pt x="890257" y="877131"/>
                </a:lnTo>
                <a:cubicBezTo>
                  <a:pt x="890257" y="877130"/>
                  <a:pt x="890257" y="877130"/>
                  <a:pt x="890255" y="877129"/>
                </a:cubicBezTo>
                <a:close/>
              </a:path>
            </a:pathLst>
          </a:custGeom>
        </p:spPr>
        <p:txBody>
          <a:bodyPr wrap="square" anchor="t">
            <a:noAutofit/>
          </a:bodyPr>
          <a:lstStyle>
            <a:lvl1pPr marL="0" indent="0">
              <a:buNone/>
              <a:defRPr/>
            </a:lvl1pPr>
          </a:lstStyle>
          <a:p>
            <a:endParaRPr lang="en-US" dirty="0"/>
          </a:p>
        </p:txBody>
      </p:sp>
      <p:cxnSp>
        <p:nvCxnSpPr>
          <p:cNvPr id="5" name="Straight Connector 4">
            <a:extLst>
              <a:ext uri="{FF2B5EF4-FFF2-40B4-BE49-F238E27FC236}">
                <a16:creationId xmlns:a16="http://schemas.microsoft.com/office/drawing/2014/main" id="{A680A1CF-F68C-45F0-A5BC-1B5F31BA0E32}"/>
              </a:ext>
            </a:extLst>
          </p:cNvPr>
          <p:cNvCxnSpPr/>
          <p:nvPr userDrawn="1"/>
        </p:nvCxnSpPr>
        <p:spPr>
          <a:xfrm>
            <a:off x="492968" y="293672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9BCDB7-0D00-4F03-A598-19299CFEE44F}"/>
              </a:ext>
            </a:extLst>
          </p:cNvPr>
          <p:cNvSpPr>
            <a:spLocks noGrp="1"/>
          </p:cNvSpPr>
          <p:nvPr>
            <p:ph type="body" sz="quarter" idx="11" hasCustomPrompt="1"/>
          </p:nvPr>
        </p:nvSpPr>
        <p:spPr>
          <a:xfrm>
            <a:off x="390331" y="2558338"/>
            <a:ext cx="3657600" cy="274320"/>
          </a:xfrm>
          <a:prstGeom prst="rect">
            <a:avLst/>
          </a:prstGeom>
        </p:spPr>
        <p:txBody>
          <a:bodyPr anchor="ctr"/>
          <a:lstStyle>
            <a:lvl1pPr marL="0" indent="0" algn="l">
              <a:lnSpc>
                <a:spcPct val="100000"/>
              </a:lnSpc>
              <a:spcBef>
                <a:spcPts val="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7" name="Text Placeholder 4">
            <a:extLst>
              <a:ext uri="{FF2B5EF4-FFF2-40B4-BE49-F238E27FC236}">
                <a16:creationId xmlns:a16="http://schemas.microsoft.com/office/drawing/2014/main" id="{4BEABEEC-14B6-4419-97EE-7111538ADA2A}"/>
              </a:ext>
            </a:extLst>
          </p:cNvPr>
          <p:cNvSpPr>
            <a:spLocks noGrp="1"/>
          </p:cNvSpPr>
          <p:nvPr>
            <p:ph type="body" sz="quarter" idx="61" hasCustomPrompt="1"/>
          </p:nvPr>
        </p:nvSpPr>
        <p:spPr>
          <a:xfrm>
            <a:off x="390331" y="3434353"/>
            <a:ext cx="36576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200">
                <a:latin typeface="+mn-lt"/>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9" name="Text Placeholder 7">
            <a:extLst>
              <a:ext uri="{FF2B5EF4-FFF2-40B4-BE49-F238E27FC236}">
                <a16:creationId xmlns:a16="http://schemas.microsoft.com/office/drawing/2014/main" id="{7F667EF6-0F30-4E08-A465-3D645C4BCC8B}"/>
              </a:ext>
            </a:extLst>
          </p:cNvPr>
          <p:cNvSpPr>
            <a:spLocks noGrp="1"/>
          </p:cNvSpPr>
          <p:nvPr>
            <p:ph type="body" sz="quarter" idx="62" hasCustomPrompt="1"/>
          </p:nvPr>
        </p:nvSpPr>
        <p:spPr>
          <a:xfrm>
            <a:off x="390331" y="1600200"/>
            <a:ext cx="3657600" cy="854075"/>
          </a:xfrm>
          <a:prstGeom prst="rect">
            <a:avLst/>
          </a:prstGeom>
        </p:spPr>
        <p:txBody>
          <a:bodyPr anchor="ctr"/>
          <a:lstStyle>
            <a:lvl1pPr marL="0" indent="0" algn="l">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Tree>
    <p:extLst>
      <p:ext uri="{BB962C8B-B14F-4D97-AF65-F5344CB8AC3E}">
        <p14:creationId xmlns:p14="http://schemas.microsoft.com/office/powerpoint/2010/main" val="3692302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5EE70E34-1047-42DB-AE04-3FB5C5C73170}"/>
              </a:ext>
            </a:extLst>
          </p:cNvPr>
          <p:cNvCxnSpPr/>
          <p:nvPr userDrawn="1"/>
        </p:nvCxnSpPr>
        <p:spPr>
          <a:xfrm>
            <a:off x="502298"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mn-lt"/>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content</a:t>
            </a:r>
          </a:p>
        </p:txBody>
      </p:sp>
      <p:sp>
        <p:nvSpPr>
          <p:cNvPr id="12" name="TextBox 11">
            <a:extLst>
              <a:ext uri="{FF2B5EF4-FFF2-40B4-BE49-F238E27FC236}">
                <a16:creationId xmlns:a16="http://schemas.microsoft.com/office/drawing/2014/main" id="{A3765DE3-4867-424A-B553-0EE0D6B69DBB}"/>
              </a:ext>
            </a:extLst>
          </p:cNvPr>
          <p:cNvSpPr txBox="1"/>
          <p:nvPr userDrawn="1"/>
        </p:nvSpPr>
        <p:spPr>
          <a:xfrm>
            <a:off x="390331" y="2334982"/>
            <a:ext cx="5715000" cy="615553"/>
          </a:xfrm>
          <a:prstGeom prst="rect">
            <a:avLst/>
          </a:prstGeom>
          <a:noFill/>
        </p:spPr>
        <p:txBody>
          <a:bodyPr wrap="square" rtlCol="0" anchor="b">
            <a:spAutoFit/>
          </a:bodyPr>
          <a:lstStyle/>
          <a:p>
            <a:r>
              <a:rPr lang="en-US" sz="3400" dirty="0">
                <a:solidFill>
                  <a:schemeClr val="accent5"/>
                </a:solidFill>
                <a:latin typeface="+mn-lt"/>
                <a:ea typeface="Open Sans Light" panose="020B0306030504020204" pitchFamily="34" charset="0"/>
                <a:cs typeface="Open Sans Light" panose="020B0306030504020204" pitchFamily="34" charset="0"/>
              </a:rPr>
              <a:t>Q&amp;A DISCUSSION</a:t>
            </a:r>
          </a:p>
        </p:txBody>
      </p:sp>
      <p:pic>
        <p:nvPicPr>
          <p:cNvPr id="13" name="Picture Placeholder 5">
            <a:extLst>
              <a:ext uri="{FF2B5EF4-FFF2-40B4-BE49-F238E27FC236}">
                <a16:creationId xmlns:a16="http://schemas.microsoft.com/office/drawing/2014/main" id="{E1CE07EB-D7A1-4DCD-BC11-38AD5B76DB0F}"/>
              </a:ext>
            </a:extLst>
          </p:cNvPr>
          <p:cNvPicPr>
            <a:picLocks noChangeAspect="1"/>
          </p:cNvPicPr>
          <p:nvPr userDrawn="1"/>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
        <p:nvSpPr>
          <p:cNvPr id="8" name="TextBox 7">
            <a:extLst>
              <a:ext uri="{FF2B5EF4-FFF2-40B4-BE49-F238E27FC236}">
                <a16:creationId xmlns:a16="http://schemas.microsoft.com/office/drawing/2014/main" id="{45A95D72-0AD2-42E5-9054-0780F1FB7706}"/>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283734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userDrawn="1"/>
        </p:nvPicPr>
        <p:blipFill>
          <a:blip r:embed="rId2"/>
          <a:src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userDrawn="1"/>
        </p:nvSpPr>
        <p:spPr>
          <a:xfrm>
            <a:off x="-1" y="1"/>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a:spLocks/>
          </p:cNvSpPr>
          <p:nvPr userDrawn="1"/>
        </p:nvSpPr>
        <p:spPr bwMode="auto">
          <a:xfrm>
            <a:off x="976498" y="1613180"/>
            <a:ext cx="10239021"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dirty="0">
                <a:solidFill>
                  <a:schemeClr val="bg1"/>
                </a:solidFill>
                <a:latin typeface="+mn-lt"/>
                <a:ea typeface="Open Sans Light" panose="020B0306030504020204" pitchFamily="34" charset="0"/>
                <a:cs typeface="Open Sans Light" panose="020B0306030504020204" pitchFamily="34" charset="0"/>
                <a:sym typeface="Bebas Neue" charset="0"/>
              </a:rPr>
              <a:t>CONNECT WITH US</a:t>
            </a:r>
            <a:endParaRPr lang="en-US" sz="6000" spc="1750" dirty="0">
              <a:solidFill>
                <a:schemeClr val="bg1"/>
              </a:solidFill>
              <a:latin typeface="+mn-lt"/>
              <a:ea typeface="Open Sans Light" charset="0"/>
              <a:cs typeface="Open Sans Light" charset="0"/>
              <a:sym typeface="Bebas Neue" charset="0"/>
            </a:endParaRPr>
          </a:p>
        </p:txBody>
      </p:sp>
      <p:sp>
        <p:nvSpPr>
          <p:cNvPr id="10" name="Rectangle 9">
            <a:extLst>
              <a:ext uri="{FF2B5EF4-FFF2-40B4-BE49-F238E27FC236}">
                <a16:creationId xmlns:a16="http://schemas.microsoft.com/office/drawing/2014/main" id="{64EB43D7-6E46-4F6B-A9DB-D495F1CDBCFC}"/>
              </a:ext>
            </a:extLst>
          </p:cNvPr>
          <p:cNvSpPr/>
          <p:nvPr userDrawn="1"/>
        </p:nvSpPr>
        <p:spPr>
          <a:xfrm>
            <a:off x="1558463" y="4140246"/>
            <a:ext cx="1072730" cy="353943"/>
          </a:xfrm>
          <a:prstGeom prst="rect">
            <a:avLst/>
          </a:prstGeom>
        </p:spPr>
        <p:txBody>
          <a:bodyPr wrap="none">
            <a:spAutoFit/>
          </a:bodyPr>
          <a:lstStyle/>
          <a:p>
            <a:pPr algn="ctr"/>
            <a:r>
              <a:rPr lang="en-US" sz="1700" dirty="0">
                <a:solidFill>
                  <a:schemeClr val="bg1"/>
                </a:solidFill>
                <a:latin typeface="+mn-lt"/>
                <a:ea typeface="Open Sans Light" panose="020B0306030504020204" pitchFamily="34" charset="0"/>
                <a:cs typeface="Open Sans Light" panose="020B03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userDrawn="1"/>
        </p:nvSpPr>
        <p:spPr>
          <a:xfrm>
            <a:off x="381000" y="5794258"/>
            <a:ext cx="11430000" cy="693010"/>
          </a:xfrm>
          <a:prstGeom prst="rect">
            <a:avLst/>
          </a:prstGeom>
          <a:noFill/>
        </p:spPr>
        <p:txBody>
          <a:bodyPr wrap="square" rtlCol="0">
            <a:spAutoFit/>
          </a:bodyPr>
          <a:lstStyle/>
          <a:p>
            <a:pPr algn="ctr">
              <a:lnSpc>
                <a:spcPts val="1620"/>
              </a:lnSpc>
            </a:pPr>
            <a:r>
              <a:rPr lang="en-US" sz="1100" dirty="0">
                <a:solidFill>
                  <a:schemeClr val="bg2"/>
                </a:solidFill>
                <a:latin typeface="+mn-lt"/>
                <a:ea typeface="Open Sans Light" panose="020B0306030504020204" pitchFamily="34" charset="0"/>
                <a:cs typeface="Open Sans Light" panose="020B0306030504020204" pitchFamily="34" charset="0"/>
              </a:rPr>
              <a:t>Baker Donelson is among the 80 largest law firms in the country, with more than 650 attorneys and public policy advisors representing more than 30 practice areas to serve a wide range of legal needs. Clients receive knowledgeable guidance from experienced, multi-disciplined industry and client service teams, all seamlessly connected across 22 offices in Alabama, Florida, Georgia, Louisiana, Maryland, Mississippi, North Carolina,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sp>
        <p:nvSpPr>
          <p:cNvPr id="21" name="Rectangle 20">
            <a:extLst>
              <a:ext uri="{FF2B5EF4-FFF2-40B4-BE49-F238E27FC236}">
                <a16:creationId xmlns:a16="http://schemas.microsoft.com/office/drawing/2014/main" id="{43DE0751-F48A-4E59-91EF-79F744409C3B}"/>
              </a:ext>
            </a:extLst>
          </p:cNvPr>
          <p:cNvSpPr/>
          <p:nvPr userDrawn="1"/>
        </p:nvSpPr>
        <p:spPr>
          <a:xfrm>
            <a:off x="4142510" y="4140246"/>
            <a:ext cx="1299651" cy="353943"/>
          </a:xfrm>
          <a:prstGeom prst="rect">
            <a:avLst/>
          </a:prstGeom>
        </p:spPr>
        <p:txBody>
          <a:bodyPr wrap="none">
            <a:spAutoFit/>
          </a:bodyPr>
          <a:lstStyle/>
          <a:p>
            <a:pPr algn="ctr"/>
            <a:r>
              <a:rPr lang="en-US" sz="1700" dirty="0">
                <a:solidFill>
                  <a:schemeClr val="bg1"/>
                </a:solidFill>
                <a:latin typeface="+mn-lt"/>
                <a:ea typeface="Open Sans Light" panose="020B0306030504020204" pitchFamily="34" charset="0"/>
                <a:cs typeface="Open Sans Light" panose="020B03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userDrawn="1"/>
        </p:nvSpPr>
        <p:spPr>
          <a:xfrm>
            <a:off x="6652713" y="4140246"/>
            <a:ext cx="1164101" cy="353943"/>
          </a:xfrm>
          <a:prstGeom prst="rect">
            <a:avLst/>
          </a:prstGeom>
        </p:spPr>
        <p:txBody>
          <a:bodyPr wrap="none">
            <a:spAutoFit/>
          </a:bodyPr>
          <a:lstStyle/>
          <a:p>
            <a:pPr algn="ctr"/>
            <a:r>
              <a:rPr lang="en-US" sz="1700" dirty="0">
                <a:solidFill>
                  <a:schemeClr val="bg1"/>
                </a:solidFill>
                <a:latin typeface="+mn-lt"/>
                <a:ea typeface="Open Sans Light" panose="020B0306030504020204" pitchFamily="34" charset="0"/>
                <a:cs typeface="Open Sans Light" panose="020B03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958536" y="3514829"/>
            <a:ext cx="552450" cy="552450"/>
          </a:xfrm>
          <a:prstGeom prst="rect">
            <a:avLst/>
          </a:prstGeom>
        </p:spPr>
      </p:pic>
      <p:sp>
        <p:nvSpPr>
          <p:cNvPr id="9" name="Rectangle 8">
            <a:extLst>
              <a:ext uri="{FF2B5EF4-FFF2-40B4-BE49-F238E27FC236}">
                <a16:creationId xmlns:a16="http://schemas.microsoft.com/office/drawing/2014/main" id="{1ADB8F5A-80D4-EEEC-E4B4-613E4088444D}"/>
              </a:ext>
            </a:extLst>
          </p:cNvPr>
          <p:cNvSpPr/>
          <p:nvPr userDrawn="1"/>
        </p:nvSpPr>
        <p:spPr>
          <a:xfrm>
            <a:off x="9252904" y="4140246"/>
            <a:ext cx="1378455"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X (TWITTER)</a:t>
            </a:r>
          </a:p>
        </p:txBody>
      </p:sp>
      <p:pic>
        <p:nvPicPr>
          <p:cNvPr id="11" name="Picture 10" descr="A white x on a black background&#10;&#10;Description automatically generated">
            <a:extLst>
              <a:ext uri="{FF2B5EF4-FFF2-40B4-BE49-F238E27FC236}">
                <a16:creationId xmlns:a16="http://schemas.microsoft.com/office/drawing/2014/main" id="{6EF965D2-61BB-5701-E7CB-2D0477B53D06}"/>
              </a:ext>
            </a:extLst>
          </p:cNvPr>
          <p:cNvPicPr>
            <a:picLocks noChangeAspect="1"/>
          </p:cNvPicPr>
          <p:nvPr userDrawn="1"/>
        </p:nvPicPr>
        <p:blipFill>
          <a:blip r:embed="rId9"/>
          <a:stretch>
            <a:fillRect/>
          </a:stretch>
        </p:blipFill>
        <p:spPr>
          <a:xfrm>
            <a:off x="9673738" y="3518639"/>
            <a:ext cx="536786" cy="548640"/>
          </a:xfrm>
          <a:prstGeom prst="rect">
            <a:avLst/>
          </a:prstGeom>
        </p:spPr>
      </p:pic>
    </p:spTree>
    <p:extLst>
      <p:ext uri="{BB962C8B-B14F-4D97-AF65-F5344CB8AC3E}">
        <p14:creationId xmlns:p14="http://schemas.microsoft.com/office/powerpoint/2010/main" val="6239465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 Option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501898-8BEC-870B-0BAA-7CF02D9E8E9F}"/>
              </a:ext>
            </a:extLst>
          </p:cNvPr>
          <p:cNvPicPr>
            <a:picLocks noChangeAspect="1"/>
          </p:cNvPicPr>
          <p:nvPr userDrawn="1"/>
        </p:nvPicPr>
        <p:blipFill rotWithShape="1">
          <a:blip r:embed="rId2"/>
          <a:srcRect b="-355"/>
          <a:stretch/>
        </p:blipFill>
        <p:spPr>
          <a:xfrm>
            <a:off x="0" y="0"/>
            <a:ext cx="12192000" cy="6857142"/>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0" y="858"/>
            <a:ext cx="12188952"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6" name="Text Placeholder 14">
            <a:extLst>
              <a:ext uri="{FF2B5EF4-FFF2-40B4-BE49-F238E27FC236}">
                <a16:creationId xmlns:a16="http://schemas.microsoft.com/office/drawing/2014/main" id="{83700D3F-414D-492E-ADEE-DE8CC0B249E9}"/>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0" name="Text Placeholder 14">
            <a:extLst>
              <a:ext uri="{FF2B5EF4-FFF2-40B4-BE49-F238E27FC236}">
                <a16:creationId xmlns:a16="http://schemas.microsoft.com/office/drawing/2014/main" id="{A6CDB0E7-38EF-4CA7-A30D-ED27914F587A}"/>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2" name="Text Placeholder 14">
            <a:extLst>
              <a:ext uri="{FF2B5EF4-FFF2-40B4-BE49-F238E27FC236}">
                <a16:creationId xmlns:a16="http://schemas.microsoft.com/office/drawing/2014/main" id="{8F187370-3173-49CD-8B91-CC3D7A18C26E}"/>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4999BF73-F9F2-4E1D-830C-FDFB628A31F6}"/>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249E8B76-81E5-84EF-8A43-BFD01A769A0A}"/>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12841109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 Option 3">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3"/>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10">
            <a:extLst>
              <a:ext uri="{FF2B5EF4-FFF2-40B4-BE49-F238E27FC236}">
                <a16:creationId xmlns:a16="http://schemas.microsoft.com/office/drawing/2014/main" id="{E8DD6720-71D7-4276-BBBC-543C6B4CC2CA}"/>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9" name="Text Placeholder 14">
            <a:extLst>
              <a:ext uri="{FF2B5EF4-FFF2-40B4-BE49-F238E27FC236}">
                <a16:creationId xmlns:a16="http://schemas.microsoft.com/office/drawing/2014/main" id="{9B6AE3E6-579D-46D7-AABF-82F1B873164A}"/>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20" name="Text Placeholder 14">
            <a:extLst>
              <a:ext uri="{FF2B5EF4-FFF2-40B4-BE49-F238E27FC236}">
                <a16:creationId xmlns:a16="http://schemas.microsoft.com/office/drawing/2014/main" id="{CC117974-7830-4172-AE45-939B4F2CD31A}"/>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271D8B06-C612-4BE4-8195-1C43187F728D}"/>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2" name="Text Placeholder 14">
            <a:extLst>
              <a:ext uri="{FF2B5EF4-FFF2-40B4-BE49-F238E27FC236}">
                <a16:creationId xmlns:a16="http://schemas.microsoft.com/office/drawing/2014/main" id="{1B8A529D-6632-4031-BA53-5E1D3E21174C}"/>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AEB94F32-5F85-48E9-8CA6-DB23085CA5A4}"/>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102E53F7-0357-1B2F-284F-73A4EA3CBB24}"/>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212829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 Option 2">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10">
            <a:extLst>
              <a:ext uri="{FF2B5EF4-FFF2-40B4-BE49-F238E27FC236}">
                <a16:creationId xmlns:a16="http://schemas.microsoft.com/office/drawing/2014/main" id="{69789A13-1DB9-496E-A5AE-ABF640D115CB}"/>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9" name="Text Placeholder 14">
            <a:extLst>
              <a:ext uri="{FF2B5EF4-FFF2-40B4-BE49-F238E27FC236}">
                <a16:creationId xmlns:a16="http://schemas.microsoft.com/office/drawing/2014/main" id="{C447F563-C273-4536-AFB3-6A039FDE0993}"/>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20" name="Text Placeholder 14">
            <a:extLst>
              <a:ext uri="{FF2B5EF4-FFF2-40B4-BE49-F238E27FC236}">
                <a16:creationId xmlns:a16="http://schemas.microsoft.com/office/drawing/2014/main" id="{ECDDEB00-42BC-4E33-B09B-323E603E5E62}"/>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605B1481-DC26-4D6A-A3E6-F8168BB3192B}"/>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2" name="Text Placeholder 14">
            <a:extLst>
              <a:ext uri="{FF2B5EF4-FFF2-40B4-BE49-F238E27FC236}">
                <a16:creationId xmlns:a16="http://schemas.microsoft.com/office/drawing/2014/main" id="{0DCCCAFB-C578-42A4-B995-64AA53B19FB0}"/>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9175A5B5-950A-42AD-8E15-8DCB6CD68BEB}"/>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03A662A0-1C20-74C5-F044-E6F5350D37D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29568350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Divider - Option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6B67A9-3FC4-A765-FCBC-8D3390C12B62}"/>
              </a:ext>
            </a:extLst>
          </p:cNvPr>
          <p:cNvPicPr>
            <a:picLocks noChangeAspect="1"/>
          </p:cNvPicPr>
          <p:nvPr userDrawn="1"/>
        </p:nvPicPr>
        <p:blipFill rotWithShape="1">
          <a:blip r:embed="rId2"/>
          <a:srcRect t="1808" r="610" b="11074"/>
          <a:stretch/>
        </p:blipFill>
        <p:spPr>
          <a:xfrm>
            <a:off x="-65" y="0"/>
            <a:ext cx="12188952" cy="6858000"/>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5"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1" name="Rectangle 10">
            <a:extLst>
              <a:ext uri="{FF2B5EF4-FFF2-40B4-BE49-F238E27FC236}">
                <a16:creationId xmlns:a16="http://schemas.microsoft.com/office/drawing/2014/main" id="{B92113EB-96F2-4A90-81F0-91C7823D5A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E9808143-C0B4-8796-A0B4-661F20BF0C5E}"/>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37097364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Option 2">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99ED853B-3A94-44EA-B306-AED50E58825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3</a:t>
            </a:r>
          </a:p>
        </p:txBody>
      </p:sp>
      <p:sp>
        <p:nvSpPr>
          <p:cNvPr id="18" name="Text Placeholder 14">
            <a:extLst>
              <a:ext uri="{FF2B5EF4-FFF2-40B4-BE49-F238E27FC236}">
                <a16:creationId xmlns:a16="http://schemas.microsoft.com/office/drawing/2014/main" id="{F73FD31C-CD9C-4CD0-AB2B-DBDD2B326B6B}"/>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96044471-19A6-42C7-939C-1CE9DD8B64E7}"/>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0" name="Text Placeholder 14">
            <a:extLst>
              <a:ext uri="{FF2B5EF4-FFF2-40B4-BE49-F238E27FC236}">
                <a16:creationId xmlns:a16="http://schemas.microsoft.com/office/drawing/2014/main" id="{2C35F422-844D-4DC9-9E61-566C7E42E30D}"/>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130FA952-5204-419A-9950-05F23E33D226}"/>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FD155A0D-4442-44E6-97FB-766EA1DA30E9}"/>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002173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Divider - Option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531A623-BD28-89A3-56F0-AD3327970227}"/>
              </a:ext>
            </a:extLst>
          </p:cNvPr>
          <p:cNvPicPr>
            <a:picLocks noChangeAspect="1"/>
          </p:cNvPicPr>
          <p:nvPr userDrawn="1"/>
        </p:nvPicPr>
        <p:blipFill rotWithShape="1">
          <a:blip r:embed="rId2"/>
          <a:srcRect r="14946" b="23451"/>
          <a:stretch/>
        </p:blipFill>
        <p:spPr>
          <a:xfrm>
            <a:off x="-62" y="-1"/>
            <a:ext cx="12192062" cy="6858000"/>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2"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E2369E3-BA21-4969-9E24-C4043F5AC2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12173009-4FF5-4BB0-9D02-68EB3D7CCD3B}"/>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7A5D091E-D913-4193-9656-395D40DE3602}"/>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BE4AFA6-E5E9-7186-05A6-C8671BB23F48}"/>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28203891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4" name="Picture Placeholder 14">
            <a:extLst>
              <a:ext uri="{FF2B5EF4-FFF2-40B4-BE49-F238E27FC236}">
                <a16:creationId xmlns:a16="http://schemas.microsoft.com/office/drawing/2014/main" id="{E7F7F4AF-D920-9D13-4BD4-E8394620F96D}"/>
              </a:ext>
            </a:extLst>
          </p:cNvPr>
          <p:cNvPicPr>
            <a:picLocks noChangeAspect="1"/>
          </p:cNvPicPr>
          <p:nvPr userDrawn="1"/>
        </p:nvPicPr>
        <p:blipFill>
          <a:blip r:embed="rId2"/>
          <a:srcRect/>
          <a:stretch/>
        </p:blipFill>
        <p:spPr>
          <a:xfrm>
            <a:off x="-63" y="858"/>
            <a:ext cx="12188949"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88B8554C-FB7F-4460-8A84-226B1816E9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0D574784-9D07-4513-AE4D-ACAE3A828D5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29436BFB-18E9-43C6-9F7D-ECCC69D25E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A9E2ECA-E04F-7EE7-48BB-9BDE278818E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36281661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ection Divider - Option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6902E53-CDA8-915A-860E-AAD921CC37D9}"/>
              </a:ext>
            </a:extLst>
          </p:cNvPr>
          <p:cNvPicPr>
            <a:picLocks noChangeAspect="1"/>
          </p:cNvPicPr>
          <p:nvPr userDrawn="1"/>
        </p:nvPicPr>
        <p:blipFill rotWithShape="1">
          <a:blip r:embed="rId2"/>
          <a:srcRect l="25" t="10747" r="-25" b="4874"/>
          <a:stretch/>
        </p:blipFill>
        <p:spPr>
          <a:xfrm>
            <a:off x="3048" y="1"/>
            <a:ext cx="12188952" cy="6858000"/>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3048"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88B8554C-FB7F-4460-8A84-226B1816E9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0D574784-9D07-4513-AE4D-ACAE3A828D5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29436BFB-18E9-43C6-9F7D-ECCC69D25E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A9E2ECA-E04F-7EE7-48BB-9BDE278818E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10396525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Section Divider - Opti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8B025F-6D4B-846A-0AF5-D38BCD02E09A}"/>
              </a:ext>
            </a:extLst>
          </p:cNvPr>
          <p:cNvPicPr>
            <a:picLocks noChangeAspect="1"/>
          </p:cNvPicPr>
          <p:nvPr userDrawn="1"/>
        </p:nvPicPr>
        <p:blipFill rotWithShape="1">
          <a:blip r:embed="rId2"/>
          <a:srcRect l="2" t="1" r="-27" b="15604"/>
          <a:stretch/>
        </p:blipFill>
        <p:spPr>
          <a:xfrm>
            <a:off x="1" y="1"/>
            <a:ext cx="12192000" cy="6857999"/>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1"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88B8554C-FB7F-4460-8A84-226B1816E9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0D574784-9D07-4513-AE4D-ACAE3A828D5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29436BFB-18E9-43C6-9F7D-ECCC69D25E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A9E2ECA-E04F-7EE7-48BB-9BDE278818E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15125676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Section Divider - Option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3677EF2-030B-E3C0-8A86-1A086A5C3426}"/>
              </a:ext>
            </a:extLst>
          </p:cNvPr>
          <p:cNvPicPr>
            <a:picLocks noChangeAspect="1"/>
          </p:cNvPicPr>
          <p:nvPr userDrawn="1"/>
        </p:nvPicPr>
        <p:blipFill>
          <a:blip r:embed="rId2"/>
          <a:stretch>
            <a:fillRect/>
          </a:stretch>
        </p:blipFill>
        <p:spPr>
          <a:xfrm>
            <a:off x="813" y="0"/>
            <a:ext cx="12191187" cy="6858000"/>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81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88B8554C-FB7F-4460-8A84-226B1816E9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0D574784-9D07-4513-AE4D-ACAE3A828D5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29436BFB-18E9-43C6-9F7D-ECCC69D25E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A9E2ECA-E04F-7EE7-48BB-9BDE278818E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1951723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3222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accent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B422343-799B-4C5D-AE9C-F027E8B977CC}"/>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 name="Picture 2">
            <a:extLst>
              <a:ext uri="{FF2B5EF4-FFF2-40B4-BE49-F238E27FC236}">
                <a16:creationId xmlns:a16="http://schemas.microsoft.com/office/drawing/2014/main" id="{DA947AD3-920D-4DBA-BF4A-62CC94DA84B4}"/>
              </a:ext>
            </a:extLst>
          </p:cNvPr>
          <p:cNvPicPr>
            <a:picLocks noChangeAspect="1"/>
          </p:cNvPicPr>
          <p:nvPr userDrawn="1"/>
        </p:nvPicPr>
        <p:blipFill>
          <a:blip r:embed="rId2"/>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5189947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Subtitle Only">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9594489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Subtitle Only - No hash mark">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070AD663-D889-4037-89BC-9DDFF15D1DAC}"/>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5" name="Text Placeholder 2">
            <a:extLst>
              <a:ext uri="{FF2B5EF4-FFF2-40B4-BE49-F238E27FC236}">
                <a16:creationId xmlns:a16="http://schemas.microsoft.com/office/drawing/2014/main" id="{0B9E9B49-B612-49B4-A5A1-36BC6852554D}"/>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9501615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with on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6" name="Text Placeholder 10">
            <a:extLst>
              <a:ext uri="{FF2B5EF4-FFF2-40B4-BE49-F238E27FC236}">
                <a16:creationId xmlns:a16="http://schemas.microsoft.com/office/drawing/2014/main" id="{168E28E3-F228-45F5-A85F-3C2693FCE6F1}"/>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16D82D3F-E316-4696-945D-6C856C82AA76}"/>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34379294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 Option 2">
    <p:spTree>
      <p:nvGrpSpPr>
        <p:cNvPr id="1" name=""/>
        <p:cNvGrpSpPr/>
        <p:nvPr/>
      </p:nvGrpSpPr>
      <p:grpSpPr>
        <a:xfrm>
          <a:off x="0" y="0"/>
          <a:ext cx="0" cy="0"/>
          <a:chOff x="0" y="0"/>
          <a:chExt cx="0" cy="0"/>
        </a:xfrm>
      </p:grpSpPr>
      <p:pic>
        <p:nvPicPr>
          <p:cNvPr id="10" name="Picture Placeholder 14">
            <a:extLst>
              <a:ext uri="{FF2B5EF4-FFF2-40B4-BE49-F238E27FC236}">
                <a16:creationId xmlns:a16="http://schemas.microsoft.com/office/drawing/2014/main" id="{E846CDA9-C38D-48E5-A97E-82EB983FF9C9}"/>
              </a:ext>
            </a:extLst>
          </p:cNvPr>
          <p:cNvPicPr>
            <a:picLocks noChangeAspect="1"/>
          </p:cNvPicPr>
          <p:nvPr userDrawn="1"/>
        </p:nvPicPr>
        <p:blipFill>
          <a:blip r:embed="rId2"/>
          <a:srcRect/>
          <a:stretch/>
        </p:blipFill>
        <p:spPr>
          <a:xfrm>
            <a:off x="-64" y="858"/>
            <a:ext cx="12188951"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9" name="Rectangle 8">
            <a:extLst>
              <a:ext uri="{FF2B5EF4-FFF2-40B4-BE49-F238E27FC236}">
                <a16:creationId xmlns:a16="http://schemas.microsoft.com/office/drawing/2014/main" id="{190653D2-C799-4BD0-BB47-2CF40EDD1D68}"/>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2123541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Subtitle with one column - No hash mark">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5" name="Text Placeholder 10">
            <a:extLst>
              <a:ext uri="{FF2B5EF4-FFF2-40B4-BE49-F238E27FC236}">
                <a16:creationId xmlns:a16="http://schemas.microsoft.com/office/drawing/2014/main" id="{F1ABE98F-1210-435A-92FE-9CB606C2BECF}"/>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6" name="Text Placeholder 2">
            <a:extLst>
              <a:ext uri="{FF2B5EF4-FFF2-40B4-BE49-F238E27FC236}">
                <a16:creationId xmlns:a16="http://schemas.microsoft.com/office/drawing/2014/main" id="{ACAC7962-C146-4043-9B26-4D9F2AAB0360}"/>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3775285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Subtitle with two column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9" name="Text Placeholder 10">
            <a:extLst>
              <a:ext uri="{FF2B5EF4-FFF2-40B4-BE49-F238E27FC236}">
                <a16:creationId xmlns:a16="http://schemas.microsoft.com/office/drawing/2014/main" id="{C61A827C-DCF5-4569-8F2A-843EA412AD66}"/>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0" name="Text Placeholder 2">
            <a:extLst>
              <a:ext uri="{FF2B5EF4-FFF2-40B4-BE49-F238E27FC236}">
                <a16:creationId xmlns:a16="http://schemas.microsoft.com/office/drawing/2014/main" id="{C05A1A97-77CB-4051-B10E-A0B319848020}"/>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9030658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Subtitle with two columns - No hash mark">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6" name="Text Placeholder 10">
            <a:extLst>
              <a:ext uri="{FF2B5EF4-FFF2-40B4-BE49-F238E27FC236}">
                <a16:creationId xmlns:a16="http://schemas.microsoft.com/office/drawing/2014/main" id="{9D61790C-4245-4C63-A707-41AA9823D9C9}"/>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9" name="Text Placeholder 2">
            <a:extLst>
              <a:ext uri="{FF2B5EF4-FFF2-40B4-BE49-F238E27FC236}">
                <a16:creationId xmlns:a16="http://schemas.microsoft.com/office/drawing/2014/main" id="{3C469253-86D0-4685-BDC8-EC6942D57C45}"/>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40932541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Overview with image on righ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18660114"/>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verview with image on lef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6096000" y="628650"/>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52718035"/>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Subtitle Left Arrow - One column">
    <p:bg>
      <p:bgPr>
        <a:solidFill>
          <a:schemeClr val="bg1"/>
        </a:solidFill>
        <a:effectLst/>
      </p:bgPr>
    </p:bg>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F5265321-5CF4-E890-BA3D-FC6F0423A7E2}"/>
              </a:ext>
            </a:extLst>
          </p:cNvPr>
          <p:cNvSpPr/>
          <p:nvPr userDrawn="1"/>
        </p:nvSpPr>
        <p:spPr>
          <a:xfrm>
            <a:off x="3118104" y="6327648"/>
            <a:ext cx="749808" cy="414338"/>
          </a:xfrm>
          <a:prstGeom prst="roundRect">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nvGrpSpPr>
          <p:cNvPr id="4" name="Group 3">
            <a:extLst>
              <a:ext uri="{FF2B5EF4-FFF2-40B4-BE49-F238E27FC236}">
                <a16:creationId xmlns:a16="http://schemas.microsoft.com/office/drawing/2014/main" id="{026148C1-F56C-4733-95D5-44651A2C9B69}"/>
              </a:ext>
            </a:extLst>
          </p:cNvPr>
          <p:cNvGrpSpPr/>
          <p:nvPr userDrawn="1"/>
        </p:nvGrpSpPr>
        <p:grpSpPr>
          <a:xfrm>
            <a:off x="1"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155895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30165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30165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4953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17316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Subtitle Right Arrow - One column">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871C5A8-BF00-4218-8472-981FFC28BD65}"/>
              </a:ext>
            </a:extLst>
          </p:cNvPr>
          <p:cNvGrpSpPr/>
          <p:nvPr userDrawn="1"/>
        </p:nvGrpSpPr>
        <p:grpSpPr>
          <a:xfrm>
            <a:off x="7892272" y="0"/>
            <a:ext cx="4299728" cy="6858000"/>
            <a:chOff x="7892272" y="0"/>
            <a:chExt cx="4299728" cy="6858000"/>
          </a:xfrm>
        </p:grpSpPr>
        <p:sp>
          <p:nvSpPr>
            <p:cNvPr id="3" name="Rectangle 2">
              <a:extLst>
                <a:ext uri="{FF2B5EF4-FFF2-40B4-BE49-F238E27FC236}">
                  <a16:creationId xmlns:a16="http://schemas.microsoft.com/office/drawing/2014/main" id="{662A5C94-8B2E-4F87-A64D-A44FF3BA6F39}"/>
                </a:ext>
              </a:extLst>
            </p:cNvPr>
            <p:cNvSpPr/>
            <p:nvPr userDrawn="1"/>
          </p:nvSpPr>
          <p:spPr>
            <a:xfrm>
              <a:off x="8313576" y="6476214"/>
              <a:ext cx="868131" cy="216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26148C1-F56C-4733-95D5-44651A2C9B69}"/>
                </a:ext>
              </a:extLst>
            </p:cNvPr>
            <p:cNvGrpSpPr/>
            <p:nvPr userDrawn="1"/>
          </p:nvGrpSpPr>
          <p:grpSpPr>
            <a:xfrm flipH="1">
              <a:off x="7892272"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986790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861060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861060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381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067702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attorney team">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ADE59870-FA01-4917-A7F1-7ED22B21E64B}"/>
              </a:ext>
            </a:extLst>
          </p:cNvPr>
          <p:cNvSpPr>
            <a:spLocks noGrp="1"/>
          </p:cNvSpPr>
          <p:nvPr>
            <p:ph type="pic" sz="quarter" idx="68"/>
          </p:nvPr>
        </p:nvSpPr>
        <p:spPr>
          <a:xfrm>
            <a:off x="1076228"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1" name="Text Placeholder 27">
            <a:extLst>
              <a:ext uri="{FF2B5EF4-FFF2-40B4-BE49-F238E27FC236}">
                <a16:creationId xmlns:a16="http://schemas.microsoft.com/office/drawing/2014/main" id="{97A26C40-36F9-4050-A037-AAA9AF17AFAC}"/>
              </a:ext>
            </a:extLst>
          </p:cNvPr>
          <p:cNvSpPr>
            <a:spLocks noGrp="1"/>
          </p:cNvSpPr>
          <p:nvPr>
            <p:ph type="body" sz="quarter" idx="28" hasCustomPrompt="1"/>
          </p:nvPr>
        </p:nvSpPr>
        <p:spPr>
          <a:xfrm>
            <a:off x="390428"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2" name="Text Placeholder 27">
            <a:extLst>
              <a:ext uri="{FF2B5EF4-FFF2-40B4-BE49-F238E27FC236}">
                <a16:creationId xmlns:a16="http://schemas.microsoft.com/office/drawing/2014/main" id="{F426880D-0B8A-4915-B6F2-A2AC69254AF3}"/>
              </a:ext>
            </a:extLst>
          </p:cNvPr>
          <p:cNvSpPr>
            <a:spLocks noGrp="1"/>
          </p:cNvSpPr>
          <p:nvPr>
            <p:ph type="body" sz="quarter" idx="29" hasCustomPrompt="1"/>
          </p:nvPr>
        </p:nvSpPr>
        <p:spPr>
          <a:xfrm>
            <a:off x="3279321"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3" name="Text Placeholder 27">
            <a:extLst>
              <a:ext uri="{FF2B5EF4-FFF2-40B4-BE49-F238E27FC236}">
                <a16:creationId xmlns:a16="http://schemas.microsoft.com/office/drawing/2014/main" id="{9911E403-AFBC-4E75-A8D4-47C8627097FE}"/>
              </a:ext>
            </a:extLst>
          </p:cNvPr>
          <p:cNvSpPr>
            <a:spLocks noGrp="1"/>
          </p:cNvSpPr>
          <p:nvPr>
            <p:ph type="body" sz="quarter" idx="30" hasCustomPrompt="1"/>
          </p:nvPr>
        </p:nvSpPr>
        <p:spPr>
          <a:xfrm>
            <a:off x="6168117"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4" name="Text Placeholder 27">
            <a:extLst>
              <a:ext uri="{FF2B5EF4-FFF2-40B4-BE49-F238E27FC236}">
                <a16:creationId xmlns:a16="http://schemas.microsoft.com/office/drawing/2014/main" id="{5257D8A0-3473-499A-9B83-A493336CF7FB}"/>
              </a:ext>
            </a:extLst>
          </p:cNvPr>
          <p:cNvSpPr>
            <a:spLocks noGrp="1"/>
          </p:cNvSpPr>
          <p:nvPr>
            <p:ph type="body" sz="quarter" idx="31" hasCustomPrompt="1"/>
          </p:nvPr>
        </p:nvSpPr>
        <p:spPr>
          <a:xfrm>
            <a:off x="9056914"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5" name="Picture Placeholder 7">
            <a:extLst>
              <a:ext uri="{FF2B5EF4-FFF2-40B4-BE49-F238E27FC236}">
                <a16:creationId xmlns:a16="http://schemas.microsoft.com/office/drawing/2014/main" id="{A8935422-98DE-4953-81B9-EEAD81C741BB}"/>
              </a:ext>
            </a:extLst>
          </p:cNvPr>
          <p:cNvSpPr>
            <a:spLocks noGrp="1"/>
          </p:cNvSpPr>
          <p:nvPr>
            <p:ph type="pic" sz="quarter" idx="69"/>
          </p:nvPr>
        </p:nvSpPr>
        <p:spPr>
          <a:xfrm>
            <a:off x="3965057"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6" name="Picture Placeholder 7">
            <a:extLst>
              <a:ext uri="{FF2B5EF4-FFF2-40B4-BE49-F238E27FC236}">
                <a16:creationId xmlns:a16="http://schemas.microsoft.com/office/drawing/2014/main" id="{685D4BDA-3A30-439A-B3EA-1CFCC97F6580}"/>
              </a:ext>
            </a:extLst>
          </p:cNvPr>
          <p:cNvSpPr>
            <a:spLocks noGrp="1"/>
          </p:cNvSpPr>
          <p:nvPr>
            <p:ph type="pic" sz="quarter" idx="70"/>
          </p:nvPr>
        </p:nvSpPr>
        <p:spPr>
          <a:xfrm>
            <a:off x="6853886"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7" name="Picture Placeholder 7">
            <a:extLst>
              <a:ext uri="{FF2B5EF4-FFF2-40B4-BE49-F238E27FC236}">
                <a16:creationId xmlns:a16="http://schemas.microsoft.com/office/drawing/2014/main" id="{A00DF56A-B640-4D0B-8148-92BAAC6C07BC}"/>
              </a:ext>
            </a:extLst>
          </p:cNvPr>
          <p:cNvSpPr>
            <a:spLocks noGrp="1"/>
          </p:cNvSpPr>
          <p:nvPr>
            <p:ph type="pic" sz="quarter" idx="71"/>
          </p:nvPr>
        </p:nvSpPr>
        <p:spPr>
          <a:xfrm>
            <a:off x="9742714"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cxnSp>
        <p:nvCxnSpPr>
          <p:cNvPr id="19" name="Straight Connector 18">
            <a:extLst>
              <a:ext uri="{FF2B5EF4-FFF2-40B4-BE49-F238E27FC236}">
                <a16:creationId xmlns:a16="http://schemas.microsoft.com/office/drawing/2014/main" id="{711843B2-8C8F-44A3-BBD8-2EBE1DA50BA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C5C58C17-AC52-42A1-8B85-013CDCB5E98A}"/>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0E3B9817-7AE3-4D75-B57D-75020D9B88CD}"/>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6843487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x Rep Matters">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39C3241E-0248-4FD0-A411-E8D8CEB18769}"/>
              </a:ext>
            </a:extLst>
          </p:cNvPr>
          <p:cNvSpPr>
            <a:spLocks noGrp="1"/>
          </p:cNvSpPr>
          <p:nvPr>
            <p:ph type="pic" sz="quarter" idx="11" hasCustomPrompt="1"/>
          </p:nvPr>
        </p:nvSpPr>
        <p:spPr>
          <a:xfrm>
            <a:off x="390331" y="1617952"/>
            <a:ext cx="3657600" cy="1005840"/>
          </a:xfrm>
          <a:prstGeom prst="rect">
            <a:avLst/>
          </a:prstGeom>
          <a:solidFill>
            <a:schemeClr val="bg1">
              <a:lumMod val="95000"/>
            </a:schemeClr>
          </a:solidFill>
        </p:spPr>
        <p:txBody>
          <a:bodyPr anchor="ctr"/>
          <a:lstStyle>
            <a:lvl1pPr marL="0" indent="0" algn="ctr">
              <a:buNone/>
              <a:defRPr sz="2400">
                <a:solidFill>
                  <a:schemeClr val="bg1">
                    <a:lumMod val="75000"/>
                  </a:schemeClr>
                </a:solidFill>
              </a:defRPr>
            </a:lvl1pPr>
          </a:lstStyle>
          <a:p>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5" name="Picture Placeholder 37">
            <a:extLst>
              <a:ext uri="{FF2B5EF4-FFF2-40B4-BE49-F238E27FC236}">
                <a16:creationId xmlns:a16="http://schemas.microsoft.com/office/drawing/2014/main" id="{F94DD322-BCC5-4552-91D7-9824DCBC8750}"/>
              </a:ext>
            </a:extLst>
          </p:cNvPr>
          <p:cNvSpPr>
            <a:spLocks noGrp="1"/>
          </p:cNvSpPr>
          <p:nvPr>
            <p:ph type="pic" sz="quarter" idx="17" hasCustomPrompt="1"/>
          </p:nvPr>
        </p:nvSpPr>
        <p:spPr>
          <a:xfrm>
            <a:off x="42765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7" name="Picture Placeholder 37">
            <a:extLst>
              <a:ext uri="{FF2B5EF4-FFF2-40B4-BE49-F238E27FC236}">
                <a16:creationId xmlns:a16="http://schemas.microsoft.com/office/drawing/2014/main" id="{38849EE0-04FA-45BB-B7D7-DF5BC2E7A74C}"/>
              </a:ext>
            </a:extLst>
          </p:cNvPr>
          <p:cNvSpPr>
            <a:spLocks noGrp="1"/>
          </p:cNvSpPr>
          <p:nvPr>
            <p:ph type="pic" sz="quarter" idx="19" hasCustomPrompt="1"/>
          </p:nvPr>
        </p:nvSpPr>
        <p:spPr>
          <a:xfrm>
            <a:off x="81627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0" name="Text Placeholder 27">
            <a:extLst>
              <a:ext uri="{FF2B5EF4-FFF2-40B4-BE49-F238E27FC236}">
                <a16:creationId xmlns:a16="http://schemas.microsoft.com/office/drawing/2014/main" id="{CD467619-55C3-4742-80C4-BB51BE9D4554}"/>
              </a:ext>
            </a:extLst>
          </p:cNvPr>
          <p:cNvSpPr>
            <a:spLocks noGrp="1"/>
          </p:cNvSpPr>
          <p:nvPr>
            <p:ph type="body" sz="quarter" idx="20" hasCustomPrompt="1"/>
          </p:nvPr>
        </p:nvSpPr>
        <p:spPr>
          <a:xfrm>
            <a:off x="390525"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1" name="Text Placeholder 27">
            <a:extLst>
              <a:ext uri="{FF2B5EF4-FFF2-40B4-BE49-F238E27FC236}">
                <a16:creationId xmlns:a16="http://schemas.microsoft.com/office/drawing/2014/main" id="{9FFA7C56-5235-456F-A55D-D2423BCAD92A}"/>
              </a:ext>
            </a:extLst>
          </p:cNvPr>
          <p:cNvSpPr>
            <a:spLocks noGrp="1"/>
          </p:cNvSpPr>
          <p:nvPr>
            <p:ph type="body" sz="quarter" idx="21" hasCustomPrompt="1"/>
          </p:nvPr>
        </p:nvSpPr>
        <p:spPr>
          <a:xfrm>
            <a:off x="4276628"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3" name="Text Placeholder 27">
            <a:extLst>
              <a:ext uri="{FF2B5EF4-FFF2-40B4-BE49-F238E27FC236}">
                <a16:creationId xmlns:a16="http://schemas.microsoft.com/office/drawing/2014/main" id="{A3C8A936-56B8-4185-A261-8C1B6BBB4617}"/>
              </a:ext>
            </a:extLst>
          </p:cNvPr>
          <p:cNvSpPr>
            <a:spLocks noGrp="1"/>
          </p:cNvSpPr>
          <p:nvPr>
            <p:ph type="body" sz="quarter" idx="23" hasCustomPrompt="1"/>
          </p:nvPr>
        </p:nvSpPr>
        <p:spPr>
          <a:xfrm>
            <a:off x="8162731"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4" name="Picture Placeholder 37">
            <a:extLst>
              <a:ext uri="{FF2B5EF4-FFF2-40B4-BE49-F238E27FC236}">
                <a16:creationId xmlns:a16="http://schemas.microsoft.com/office/drawing/2014/main" id="{6D8138D3-69BB-4AD6-9F8C-44137E15D906}"/>
              </a:ext>
            </a:extLst>
          </p:cNvPr>
          <p:cNvSpPr>
            <a:spLocks noGrp="1"/>
          </p:cNvSpPr>
          <p:nvPr>
            <p:ph type="pic" sz="quarter" idx="24" hasCustomPrompt="1"/>
          </p:nvPr>
        </p:nvSpPr>
        <p:spPr>
          <a:xfrm>
            <a:off x="3903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5" name="Picture Placeholder 37">
            <a:extLst>
              <a:ext uri="{FF2B5EF4-FFF2-40B4-BE49-F238E27FC236}">
                <a16:creationId xmlns:a16="http://schemas.microsoft.com/office/drawing/2014/main" id="{C68F96D0-5879-48BE-A9CC-C8DEED25EA58}"/>
              </a:ext>
            </a:extLst>
          </p:cNvPr>
          <p:cNvSpPr>
            <a:spLocks noGrp="1"/>
          </p:cNvSpPr>
          <p:nvPr>
            <p:ph type="pic" sz="quarter" idx="25" hasCustomPrompt="1"/>
          </p:nvPr>
        </p:nvSpPr>
        <p:spPr>
          <a:xfrm>
            <a:off x="42765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7" name="Picture Placeholder 37">
            <a:extLst>
              <a:ext uri="{FF2B5EF4-FFF2-40B4-BE49-F238E27FC236}">
                <a16:creationId xmlns:a16="http://schemas.microsoft.com/office/drawing/2014/main" id="{F220ACE6-02F4-4AAF-8A08-7142312BF6D1}"/>
              </a:ext>
            </a:extLst>
          </p:cNvPr>
          <p:cNvSpPr>
            <a:spLocks noGrp="1"/>
          </p:cNvSpPr>
          <p:nvPr>
            <p:ph type="pic" sz="quarter" idx="27" hasCustomPrompt="1"/>
          </p:nvPr>
        </p:nvSpPr>
        <p:spPr>
          <a:xfrm>
            <a:off x="81627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8" name="Text Placeholder 27">
            <a:extLst>
              <a:ext uri="{FF2B5EF4-FFF2-40B4-BE49-F238E27FC236}">
                <a16:creationId xmlns:a16="http://schemas.microsoft.com/office/drawing/2014/main" id="{908E73A7-8AC1-47F5-9EEE-1E5FCD29801B}"/>
              </a:ext>
            </a:extLst>
          </p:cNvPr>
          <p:cNvSpPr>
            <a:spLocks noGrp="1"/>
          </p:cNvSpPr>
          <p:nvPr>
            <p:ph type="body" sz="quarter" idx="28" hasCustomPrompt="1"/>
          </p:nvPr>
        </p:nvSpPr>
        <p:spPr>
          <a:xfrm>
            <a:off x="390525"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4" name="Text Placeholder 27">
            <a:extLst>
              <a:ext uri="{FF2B5EF4-FFF2-40B4-BE49-F238E27FC236}">
                <a16:creationId xmlns:a16="http://schemas.microsoft.com/office/drawing/2014/main" id="{FCD347F6-6747-4557-A0A4-8A33407E5282}"/>
              </a:ext>
            </a:extLst>
          </p:cNvPr>
          <p:cNvSpPr>
            <a:spLocks noGrp="1"/>
          </p:cNvSpPr>
          <p:nvPr>
            <p:ph type="body" sz="quarter" idx="29" hasCustomPrompt="1"/>
          </p:nvPr>
        </p:nvSpPr>
        <p:spPr>
          <a:xfrm>
            <a:off x="4276628"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6" name="Text Placeholder 27">
            <a:extLst>
              <a:ext uri="{FF2B5EF4-FFF2-40B4-BE49-F238E27FC236}">
                <a16:creationId xmlns:a16="http://schemas.microsoft.com/office/drawing/2014/main" id="{DF242684-9C00-422E-863D-391CFCE36544}"/>
              </a:ext>
            </a:extLst>
          </p:cNvPr>
          <p:cNvSpPr>
            <a:spLocks noGrp="1"/>
          </p:cNvSpPr>
          <p:nvPr>
            <p:ph type="body" sz="quarter" idx="31" hasCustomPrompt="1"/>
          </p:nvPr>
        </p:nvSpPr>
        <p:spPr>
          <a:xfrm>
            <a:off x="8162731"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cxnSp>
        <p:nvCxnSpPr>
          <p:cNvPr id="39" name="Straight Connector 38">
            <a:extLst>
              <a:ext uri="{FF2B5EF4-FFF2-40B4-BE49-F238E27FC236}">
                <a16:creationId xmlns:a16="http://schemas.microsoft.com/office/drawing/2014/main" id="{9830C5ED-908B-4BB8-9F71-93DF39944B99}"/>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0">
            <a:extLst>
              <a:ext uri="{FF2B5EF4-FFF2-40B4-BE49-F238E27FC236}">
                <a16:creationId xmlns:a16="http://schemas.microsoft.com/office/drawing/2014/main" id="{B685C183-8448-4CCD-8144-7124F66433BD}"/>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9" name="Text Placeholder 2">
            <a:extLst>
              <a:ext uri="{FF2B5EF4-FFF2-40B4-BE49-F238E27FC236}">
                <a16:creationId xmlns:a16="http://schemas.microsoft.com/office/drawing/2014/main" id="{8253C8CC-72B5-4C16-B74E-4EF255828FB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4565224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items with image diamond">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62ECC6F-F329-4894-B30C-9DDF87D4C6B0}"/>
              </a:ext>
            </a:extLst>
          </p:cNvPr>
          <p:cNvSpPr>
            <a:spLocks noGrp="1"/>
          </p:cNvSpPr>
          <p:nvPr>
            <p:ph type="pic" sz="quarter" idx="10"/>
          </p:nvPr>
        </p:nvSpPr>
        <p:spPr>
          <a:xfrm>
            <a:off x="4995728" y="1654784"/>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dirty="0"/>
          </a:p>
        </p:txBody>
      </p:sp>
      <p:sp>
        <p:nvSpPr>
          <p:cNvPr id="18" name="Picture Placeholder 17">
            <a:extLst>
              <a:ext uri="{FF2B5EF4-FFF2-40B4-BE49-F238E27FC236}">
                <a16:creationId xmlns:a16="http://schemas.microsoft.com/office/drawing/2014/main" id="{8A961995-D4ED-4EA2-BDF8-2F805F6EDE8F}"/>
              </a:ext>
            </a:extLst>
          </p:cNvPr>
          <p:cNvSpPr>
            <a:spLocks noGrp="1"/>
          </p:cNvSpPr>
          <p:nvPr>
            <p:ph type="pic" sz="quarter" idx="11"/>
          </p:nvPr>
        </p:nvSpPr>
        <p:spPr>
          <a:xfrm>
            <a:off x="3845353"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19" name="Picture Placeholder 18">
            <a:extLst>
              <a:ext uri="{FF2B5EF4-FFF2-40B4-BE49-F238E27FC236}">
                <a16:creationId xmlns:a16="http://schemas.microsoft.com/office/drawing/2014/main" id="{6C31DF17-C531-4C0B-A8D1-30EC2E698BEB}"/>
              </a:ext>
            </a:extLst>
          </p:cNvPr>
          <p:cNvSpPr>
            <a:spLocks noGrp="1"/>
          </p:cNvSpPr>
          <p:nvPr>
            <p:ph type="pic" sz="quarter" idx="12"/>
          </p:nvPr>
        </p:nvSpPr>
        <p:spPr>
          <a:xfrm>
            <a:off x="6142655"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20" name="Picture Placeholder 19">
            <a:extLst>
              <a:ext uri="{FF2B5EF4-FFF2-40B4-BE49-F238E27FC236}">
                <a16:creationId xmlns:a16="http://schemas.microsoft.com/office/drawing/2014/main" id="{293F6089-7C17-41CF-98EF-CCF55D2C537C}"/>
              </a:ext>
            </a:extLst>
          </p:cNvPr>
          <p:cNvSpPr>
            <a:spLocks noGrp="1"/>
          </p:cNvSpPr>
          <p:nvPr>
            <p:ph type="pic" sz="quarter" idx="13"/>
          </p:nvPr>
        </p:nvSpPr>
        <p:spPr>
          <a:xfrm>
            <a:off x="4995728" y="3951512"/>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9" name="Text Placeholder 27">
            <a:extLst>
              <a:ext uri="{FF2B5EF4-FFF2-40B4-BE49-F238E27FC236}">
                <a16:creationId xmlns:a16="http://schemas.microsoft.com/office/drawing/2014/main" id="{6F31F507-3EE3-4E74-A3B3-829544666D5B}"/>
              </a:ext>
            </a:extLst>
          </p:cNvPr>
          <p:cNvSpPr>
            <a:spLocks noGrp="1"/>
          </p:cNvSpPr>
          <p:nvPr>
            <p:ph type="body" sz="quarter" idx="17" hasCustomPrompt="1"/>
          </p:nvPr>
        </p:nvSpPr>
        <p:spPr>
          <a:xfrm>
            <a:off x="390525" y="1786247"/>
            <a:ext cx="3200400" cy="1645920"/>
          </a:xfrm>
          <a:prstGeom prst="rect">
            <a:avLst/>
          </a:prstGeom>
        </p:spPr>
        <p:txBody>
          <a:bodyPr>
            <a:normAutofit/>
          </a:bodyPr>
          <a:lstStyle>
            <a:lvl1pPr marL="0" indent="0" algn="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0" name="Text Placeholder 27">
            <a:extLst>
              <a:ext uri="{FF2B5EF4-FFF2-40B4-BE49-F238E27FC236}">
                <a16:creationId xmlns:a16="http://schemas.microsoft.com/office/drawing/2014/main" id="{859FA3BB-CF44-4802-9948-D8B7CE113AED}"/>
              </a:ext>
            </a:extLst>
          </p:cNvPr>
          <p:cNvSpPr>
            <a:spLocks noGrp="1"/>
          </p:cNvSpPr>
          <p:nvPr>
            <p:ph type="body" sz="quarter" idx="18" hasCustomPrompt="1"/>
          </p:nvPr>
        </p:nvSpPr>
        <p:spPr>
          <a:xfrm>
            <a:off x="390525" y="3809450"/>
            <a:ext cx="3200400" cy="1645920"/>
          </a:xfrm>
          <a:prstGeom prst="rect">
            <a:avLst/>
          </a:prstGeom>
        </p:spPr>
        <p:txBody>
          <a:bodyPr>
            <a:normAutofit/>
          </a:bodyPr>
          <a:lstStyle>
            <a:lvl1pPr marL="0" indent="0" algn="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1" name="Text Placeholder 27">
            <a:extLst>
              <a:ext uri="{FF2B5EF4-FFF2-40B4-BE49-F238E27FC236}">
                <a16:creationId xmlns:a16="http://schemas.microsoft.com/office/drawing/2014/main" id="{E2A970B0-BEBC-40E3-96D3-D0403411ADAD}"/>
              </a:ext>
            </a:extLst>
          </p:cNvPr>
          <p:cNvSpPr>
            <a:spLocks noGrp="1"/>
          </p:cNvSpPr>
          <p:nvPr>
            <p:ph type="body" sz="quarter" idx="19" hasCustomPrompt="1"/>
          </p:nvPr>
        </p:nvSpPr>
        <p:spPr>
          <a:xfrm>
            <a:off x="8601075" y="1786247"/>
            <a:ext cx="3200400" cy="164592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2" name="Text Placeholder 27">
            <a:extLst>
              <a:ext uri="{FF2B5EF4-FFF2-40B4-BE49-F238E27FC236}">
                <a16:creationId xmlns:a16="http://schemas.microsoft.com/office/drawing/2014/main" id="{EF807731-E598-4EFB-BF1E-35A41D6EC435}"/>
              </a:ext>
            </a:extLst>
          </p:cNvPr>
          <p:cNvSpPr>
            <a:spLocks noGrp="1"/>
          </p:cNvSpPr>
          <p:nvPr>
            <p:ph type="body" sz="quarter" idx="20" hasCustomPrompt="1"/>
          </p:nvPr>
        </p:nvSpPr>
        <p:spPr>
          <a:xfrm>
            <a:off x="8601075" y="3809450"/>
            <a:ext cx="3200400" cy="164592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cxnSp>
        <p:nvCxnSpPr>
          <p:cNvPr id="23" name="Straight Connector 22">
            <a:extLst>
              <a:ext uri="{FF2B5EF4-FFF2-40B4-BE49-F238E27FC236}">
                <a16:creationId xmlns:a16="http://schemas.microsoft.com/office/drawing/2014/main" id="{EB9EBF97-CEAA-4220-9079-D063F58B2A8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CB2699A0-6DF8-4B72-9524-62E15A5F6D3B}"/>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7619FAB3-EA86-4865-8788-762C0BC08CB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8130000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 Option 3">
    <p:spTree>
      <p:nvGrpSpPr>
        <p:cNvPr id="1" name=""/>
        <p:cNvGrpSpPr/>
        <p:nvPr/>
      </p:nvGrpSpPr>
      <p:grpSpPr>
        <a:xfrm>
          <a:off x="0" y="0"/>
          <a:ext cx="0" cy="0"/>
          <a:chOff x="0" y="0"/>
          <a:chExt cx="0" cy="0"/>
        </a:xfrm>
      </p:grpSpPr>
      <p:pic>
        <p:nvPicPr>
          <p:cNvPr id="9" name="Picture Placeholder 14">
            <a:extLst>
              <a:ext uri="{FF2B5EF4-FFF2-40B4-BE49-F238E27FC236}">
                <a16:creationId xmlns:a16="http://schemas.microsoft.com/office/drawing/2014/main" id="{C8C269CE-FE74-4975-B378-4A4616FBF946}"/>
              </a:ext>
            </a:extLst>
          </p:cNvPr>
          <p:cNvPicPr>
            <a:picLocks noChangeAspect="1"/>
          </p:cNvPicPr>
          <p:nvPr userDrawn="1"/>
        </p:nvPicPr>
        <p:blipFill>
          <a:blip r:embed="rId2"/>
          <a:srcRect/>
          <a:stretch/>
        </p:blipFill>
        <p:spPr>
          <a:xfrm>
            <a:off x="-63" y="858"/>
            <a:ext cx="12188949"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0" name="Text Placeholder 10">
            <a:extLst>
              <a:ext uri="{FF2B5EF4-FFF2-40B4-BE49-F238E27FC236}">
                <a16:creationId xmlns:a16="http://schemas.microsoft.com/office/drawing/2014/main" id="{D32C6B46-3DF6-47EC-B3F2-3060C58593DE}"/>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2</a:t>
            </a:r>
          </a:p>
        </p:txBody>
      </p:sp>
      <p:sp>
        <p:nvSpPr>
          <p:cNvPr id="14" name="Text Placeholder 14">
            <a:extLst>
              <a:ext uri="{FF2B5EF4-FFF2-40B4-BE49-F238E27FC236}">
                <a16:creationId xmlns:a16="http://schemas.microsoft.com/office/drawing/2014/main" id="{D78622D7-967F-4BBD-80F7-7832321EDD7E}"/>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1814E0AC-B81B-4FFF-8CF4-9FA15FC030FB}"/>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396521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01">
            <a:extLst>
              <a:ext uri="{FF2B5EF4-FFF2-40B4-BE49-F238E27FC236}">
                <a16:creationId xmlns:a16="http://schemas.microsoft.com/office/drawing/2014/main" id="{09643811-0C74-4A01-BA81-61628ED0CD89}"/>
              </a:ext>
            </a:extLst>
          </p:cNvPr>
          <p:cNvSpPr>
            <a:spLocks noGrp="1"/>
          </p:cNvSpPr>
          <p:nvPr>
            <p:ph type="pic" sz="quarter" idx="10"/>
          </p:nvPr>
        </p:nvSpPr>
        <p:spPr>
          <a:xfrm>
            <a:off x="2451038" y="0"/>
            <a:ext cx="9740963" cy="6858000"/>
          </a:xfrm>
          <a:custGeom>
            <a:avLst/>
            <a:gdLst>
              <a:gd name="connsiteX0" fmla="*/ 981316 w 9740963"/>
              <a:gd name="connsiteY0" fmla="*/ 5930787 h 6858000"/>
              <a:gd name="connsiteX1" fmla="*/ 1117507 w 9740963"/>
              <a:gd name="connsiteY1" fmla="*/ 6066978 h 6858000"/>
              <a:gd name="connsiteX2" fmla="*/ 1117507 w 9740963"/>
              <a:gd name="connsiteY2" fmla="*/ 6066979 h 6858000"/>
              <a:gd name="connsiteX3" fmla="*/ 1117507 w 9740963"/>
              <a:gd name="connsiteY3" fmla="*/ 6858000 h 6858000"/>
              <a:gd name="connsiteX4" fmla="*/ 0 w 9740963"/>
              <a:gd name="connsiteY4" fmla="*/ 6858000 h 6858000"/>
              <a:gd name="connsiteX5" fmla="*/ 892104 w 9740963"/>
              <a:gd name="connsiteY5" fmla="*/ 5965897 h 6858000"/>
              <a:gd name="connsiteX6" fmla="*/ 928305 w 9740963"/>
              <a:gd name="connsiteY6" fmla="*/ 5941490 h 6858000"/>
              <a:gd name="connsiteX7" fmla="*/ 981316 w 9740963"/>
              <a:gd name="connsiteY7" fmla="*/ 5930787 h 6858000"/>
              <a:gd name="connsiteX8" fmla="*/ 9583907 w 9740963"/>
              <a:gd name="connsiteY8" fmla="*/ 5514803 h 6858000"/>
              <a:gd name="connsiteX9" fmla="*/ 9740963 w 9740963"/>
              <a:gd name="connsiteY9" fmla="*/ 5514803 h 6858000"/>
              <a:gd name="connsiteX10" fmla="*/ 9740963 w 9740963"/>
              <a:gd name="connsiteY10" fmla="*/ 6004147 h 6858000"/>
              <a:gd name="connsiteX11" fmla="*/ 9490281 w 9740963"/>
              <a:gd name="connsiteY11" fmla="*/ 5753466 h 6858000"/>
              <a:gd name="connsiteX12" fmla="*/ 9490279 w 9740963"/>
              <a:gd name="connsiteY12" fmla="*/ 5753464 h 6858000"/>
              <a:gd name="connsiteX13" fmla="*/ 9470329 w 9740963"/>
              <a:gd name="connsiteY13" fmla="*/ 5733515 h 6858000"/>
              <a:gd name="connsiteX14" fmla="*/ 9449177 w 9740963"/>
              <a:gd name="connsiteY14" fmla="*/ 5702140 h 6858000"/>
              <a:gd name="connsiteX15" fmla="*/ 9438473 w 9740963"/>
              <a:gd name="connsiteY15" fmla="*/ 5649129 h 6858000"/>
              <a:gd name="connsiteX16" fmla="*/ 9521653 w 9740963"/>
              <a:gd name="connsiteY16" fmla="*/ 5523641 h 6858000"/>
              <a:gd name="connsiteX17" fmla="*/ 9565421 w 9740963"/>
              <a:gd name="connsiteY17" fmla="*/ 5514804 h 6858000"/>
              <a:gd name="connsiteX18" fmla="*/ 9583907 w 9740963"/>
              <a:gd name="connsiteY18" fmla="*/ 5514804 h 6858000"/>
              <a:gd name="connsiteX19" fmla="*/ 9014977 w 9740963"/>
              <a:gd name="connsiteY19" fmla="*/ 5514803 h 6858000"/>
              <a:gd name="connsiteX20" fmla="*/ 9067989 w 9740963"/>
              <a:gd name="connsiteY20" fmla="*/ 5525506 h 6858000"/>
              <a:gd name="connsiteX21" fmla="*/ 9104189 w 9740963"/>
              <a:gd name="connsiteY21" fmla="*/ 5549913 h 6858000"/>
              <a:gd name="connsiteX22" fmla="*/ 9740963 w 9740963"/>
              <a:gd name="connsiteY22" fmla="*/ 6186687 h 6858000"/>
              <a:gd name="connsiteX23" fmla="*/ 9740963 w 9740963"/>
              <a:gd name="connsiteY23" fmla="*/ 6858000 h 6858000"/>
              <a:gd name="connsiteX24" fmla="*/ 8878787 w 9740963"/>
              <a:gd name="connsiteY24" fmla="*/ 6858000 h 6858000"/>
              <a:gd name="connsiteX25" fmla="*/ 8878787 w 9740963"/>
              <a:gd name="connsiteY25" fmla="*/ 5650995 h 6858000"/>
              <a:gd name="connsiteX26" fmla="*/ 8878787 w 9740963"/>
              <a:gd name="connsiteY26" fmla="*/ 5650994 h 6858000"/>
              <a:gd name="connsiteX27" fmla="*/ 9014977 w 9740963"/>
              <a:gd name="connsiteY27" fmla="*/ 5514803 h 6858000"/>
              <a:gd name="connsiteX28" fmla="*/ 8615441 w 9740963"/>
              <a:gd name="connsiteY28" fmla="*/ 5514803 h 6858000"/>
              <a:gd name="connsiteX29" fmla="*/ 8751631 w 9740963"/>
              <a:gd name="connsiteY29" fmla="*/ 5650994 h 6858000"/>
              <a:gd name="connsiteX30" fmla="*/ 8751631 w 9740963"/>
              <a:gd name="connsiteY30" fmla="*/ 5650995 h 6858000"/>
              <a:gd name="connsiteX31" fmla="*/ 8751631 w 9740963"/>
              <a:gd name="connsiteY31" fmla="*/ 6858000 h 6858000"/>
              <a:gd name="connsiteX32" fmla="*/ 7218142 w 9740963"/>
              <a:gd name="connsiteY32" fmla="*/ 6858000 h 6858000"/>
              <a:gd name="connsiteX33" fmla="*/ 8526229 w 9740963"/>
              <a:gd name="connsiteY33" fmla="*/ 5549913 h 6858000"/>
              <a:gd name="connsiteX34" fmla="*/ 8562429 w 9740963"/>
              <a:gd name="connsiteY34" fmla="*/ 5525506 h 6858000"/>
              <a:gd name="connsiteX35" fmla="*/ 8615441 w 9740963"/>
              <a:gd name="connsiteY35" fmla="*/ 5514803 h 6858000"/>
              <a:gd name="connsiteX36" fmla="*/ 6477647 w 9740963"/>
              <a:gd name="connsiteY36" fmla="*/ 5514803 h 6858000"/>
              <a:gd name="connsiteX37" fmla="*/ 8046511 w 9740963"/>
              <a:gd name="connsiteY37" fmla="*/ 5514803 h 6858000"/>
              <a:gd name="connsiteX38" fmla="*/ 8046511 w 9740963"/>
              <a:gd name="connsiteY38" fmla="*/ 5514804 h 6858000"/>
              <a:gd name="connsiteX39" fmla="*/ 8064997 w 9740963"/>
              <a:gd name="connsiteY39" fmla="*/ 5514804 h 6858000"/>
              <a:gd name="connsiteX40" fmla="*/ 8108765 w 9740963"/>
              <a:gd name="connsiteY40" fmla="*/ 5523641 h 6858000"/>
              <a:gd name="connsiteX41" fmla="*/ 8191945 w 9740963"/>
              <a:gd name="connsiteY41" fmla="*/ 5649129 h 6858000"/>
              <a:gd name="connsiteX42" fmla="*/ 8181241 w 9740963"/>
              <a:gd name="connsiteY42" fmla="*/ 5702140 h 6858000"/>
              <a:gd name="connsiteX43" fmla="*/ 8160089 w 9740963"/>
              <a:gd name="connsiteY43" fmla="*/ 5733515 h 6858000"/>
              <a:gd name="connsiteX44" fmla="*/ 8140139 w 9740963"/>
              <a:gd name="connsiteY44" fmla="*/ 5753464 h 6858000"/>
              <a:gd name="connsiteX45" fmla="*/ 8140137 w 9740963"/>
              <a:gd name="connsiteY45" fmla="*/ 5753466 h 6858000"/>
              <a:gd name="connsiteX46" fmla="*/ 7035602 w 9740963"/>
              <a:gd name="connsiteY46" fmla="*/ 6858000 h 6858000"/>
              <a:gd name="connsiteX47" fmla="*/ 6334079 w 9740963"/>
              <a:gd name="connsiteY47" fmla="*/ 6858000 h 6858000"/>
              <a:gd name="connsiteX48" fmla="*/ 6334079 w 9740963"/>
              <a:gd name="connsiteY48" fmla="*/ 5658368 h 6858000"/>
              <a:gd name="connsiteX49" fmla="*/ 6334079 w 9740963"/>
              <a:gd name="connsiteY49" fmla="*/ 5658367 h 6858000"/>
              <a:gd name="connsiteX50" fmla="*/ 6334079 w 9740963"/>
              <a:gd name="connsiteY50" fmla="*/ 5639889 h 6858000"/>
              <a:gd name="connsiteX51" fmla="*/ 6342917 w 9740963"/>
              <a:gd name="connsiteY51" fmla="*/ 5596117 h 6858000"/>
              <a:gd name="connsiteX52" fmla="*/ 6415393 w 9740963"/>
              <a:gd name="connsiteY52" fmla="*/ 5523641 h 6858000"/>
              <a:gd name="connsiteX53" fmla="*/ 6459161 w 9740963"/>
              <a:gd name="connsiteY53" fmla="*/ 5514804 h 6858000"/>
              <a:gd name="connsiteX54" fmla="*/ 4494492 w 9740963"/>
              <a:gd name="connsiteY54" fmla="*/ 5514803 h 6858000"/>
              <a:gd name="connsiteX55" fmla="*/ 6063355 w 9740963"/>
              <a:gd name="connsiteY55" fmla="*/ 5514803 h 6858000"/>
              <a:gd name="connsiteX56" fmla="*/ 6081841 w 9740963"/>
              <a:gd name="connsiteY56" fmla="*/ 5514804 h 6858000"/>
              <a:gd name="connsiteX57" fmla="*/ 6125609 w 9740963"/>
              <a:gd name="connsiteY57" fmla="*/ 5523641 h 6858000"/>
              <a:gd name="connsiteX58" fmla="*/ 6198085 w 9740963"/>
              <a:gd name="connsiteY58" fmla="*/ 5596117 h 6858000"/>
              <a:gd name="connsiteX59" fmla="*/ 6206923 w 9740963"/>
              <a:gd name="connsiteY59" fmla="*/ 5639889 h 6858000"/>
              <a:gd name="connsiteX60" fmla="*/ 6206923 w 9740963"/>
              <a:gd name="connsiteY60" fmla="*/ 5658367 h 6858000"/>
              <a:gd name="connsiteX61" fmla="*/ 6206923 w 9740963"/>
              <a:gd name="connsiteY61" fmla="*/ 5658368 h 6858000"/>
              <a:gd name="connsiteX62" fmla="*/ 6206923 w 9740963"/>
              <a:gd name="connsiteY62" fmla="*/ 6858000 h 6858000"/>
              <a:gd name="connsiteX63" fmla="*/ 5505401 w 9740963"/>
              <a:gd name="connsiteY63" fmla="*/ 6858000 h 6858000"/>
              <a:gd name="connsiteX64" fmla="*/ 4400866 w 9740963"/>
              <a:gd name="connsiteY64" fmla="*/ 5753466 h 6858000"/>
              <a:gd name="connsiteX65" fmla="*/ 4400863 w 9740963"/>
              <a:gd name="connsiteY65" fmla="*/ 5753464 h 6858000"/>
              <a:gd name="connsiteX66" fmla="*/ 4380913 w 9740963"/>
              <a:gd name="connsiteY66" fmla="*/ 5733515 h 6858000"/>
              <a:gd name="connsiteX67" fmla="*/ 4359762 w 9740963"/>
              <a:gd name="connsiteY67" fmla="*/ 5702140 h 6858000"/>
              <a:gd name="connsiteX68" fmla="*/ 4349058 w 9740963"/>
              <a:gd name="connsiteY68" fmla="*/ 5649129 h 6858000"/>
              <a:gd name="connsiteX69" fmla="*/ 4432238 w 9740963"/>
              <a:gd name="connsiteY69" fmla="*/ 5523641 h 6858000"/>
              <a:gd name="connsiteX70" fmla="*/ 4476005 w 9740963"/>
              <a:gd name="connsiteY70" fmla="*/ 5514804 h 6858000"/>
              <a:gd name="connsiteX71" fmla="*/ 4494492 w 9740963"/>
              <a:gd name="connsiteY71" fmla="*/ 5514804 h 6858000"/>
              <a:gd name="connsiteX72" fmla="*/ 3925562 w 9740963"/>
              <a:gd name="connsiteY72" fmla="*/ 5514803 h 6858000"/>
              <a:gd name="connsiteX73" fmla="*/ 3978574 w 9740963"/>
              <a:gd name="connsiteY73" fmla="*/ 5525506 h 6858000"/>
              <a:gd name="connsiteX74" fmla="*/ 4014774 w 9740963"/>
              <a:gd name="connsiteY74" fmla="*/ 5549913 h 6858000"/>
              <a:gd name="connsiteX75" fmla="*/ 5322861 w 9740963"/>
              <a:gd name="connsiteY75" fmla="*/ 6858000 h 6858000"/>
              <a:gd name="connsiteX76" fmla="*/ 3789371 w 9740963"/>
              <a:gd name="connsiteY76" fmla="*/ 6858000 h 6858000"/>
              <a:gd name="connsiteX77" fmla="*/ 3789371 w 9740963"/>
              <a:gd name="connsiteY77" fmla="*/ 5650995 h 6858000"/>
              <a:gd name="connsiteX78" fmla="*/ 3789371 w 9740963"/>
              <a:gd name="connsiteY78" fmla="*/ 5650994 h 6858000"/>
              <a:gd name="connsiteX79" fmla="*/ 3925562 w 9740963"/>
              <a:gd name="connsiteY79" fmla="*/ 5514803 h 6858000"/>
              <a:gd name="connsiteX80" fmla="*/ 3526025 w 9740963"/>
              <a:gd name="connsiteY80" fmla="*/ 5514803 h 6858000"/>
              <a:gd name="connsiteX81" fmla="*/ 3662216 w 9740963"/>
              <a:gd name="connsiteY81" fmla="*/ 5650994 h 6858000"/>
              <a:gd name="connsiteX82" fmla="*/ 3662216 w 9740963"/>
              <a:gd name="connsiteY82" fmla="*/ 5650995 h 6858000"/>
              <a:gd name="connsiteX83" fmla="*/ 3662216 w 9740963"/>
              <a:gd name="connsiteY83" fmla="*/ 6858000 h 6858000"/>
              <a:gd name="connsiteX84" fmla="*/ 2128725 w 9740963"/>
              <a:gd name="connsiteY84" fmla="*/ 6858000 h 6858000"/>
              <a:gd name="connsiteX85" fmla="*/ 3436813 w 9740963"/>
              <a:gd name="connsiteY85" fmla="*/ 5549913 h 6858000"/>
              <a:gd name="connsiteX86" fmla="*/ 3473013 w 9740963"/>
              <a:gd name="connsiteY86" fmla="*/ 5525506 h 6858000"/>
              <a:gd name="connsiteX87" fmla="*/ 3526025 w 9740963"/>
              <a:gd name="connsiteY87" fmla="*/ 5514803 h 6858000"/>
              <a:gd name="connsiteX88" fmla="*/ 1388232 w 9740963"/>
              <a:gd name="connsiteY88" fmla="*/ 5514803 h 6858000"/>
              <a:gd name="connsiteX89" fmla="*/ 2957095 w 9740963"/>
              <a:gd name="connsiteY89" fmla="*/ 5514803 h 6858000"/>
              <a:gd name="connsiteX90" fmla="*/ 2957095 w 9740963"/>
              <a:gd name="connsiteY90" fmla="*/ 5514804 h 6858000"/>
              <a:gd name="connsiteX91" fmla="*/ 2975581 w 9740963"/>
              <a:gd name="connsiteY91" fmla="*/ 5514804 h 6858000"/>
              <a:gd name="connsiteX92" fmla="*/ 3019349 w 9740963"/>
              <a:gd name="connsiteY92" fmla="*/ 5523641 h 6858000"/>
              <a:gd name="connsiteX93" fmla="*/ 3102529 w 9740963"/>
              <a:gd name="connsiteY93" fmla="*/ 5649129 h 6858000"/>
              <a:gd name="connsiteX94" fmla="*/ 3091826 w 9740963"/>
              <a:gd name="connsiteY94" fmla="*/ 5702140 h 6858000"/>
              <a:gd name="connsiteX95" fmla="*/ 3070674 w 9740963"/>
              <a:gd name="connsiteY95" fmla="*/ 5733515 h 6858000"/>
              <a:gd name="connsiteX96" fmla="*/ 3050724 w 9740963"/>
              <a:gd name="connsiteY96" fmla="*/ 5753464 h 6858000"/>
              <a:gd name="connsiteX97" fmla="*/ 3050722 w 9740963"/>
              <a:gd name="connsiteY97" fmla="*/ 5753466 h 6858000"/>
              <a:gd name="connsiteX98" fmla="*/ 1946187 w 9740963"/>
              <a:gd name="connsiteY98" fmla="*/ 6858000 h 6858000"/>
              <a:gd name="connsiteX99" fmla="*/ 1244663 w 9740963"/>
              <a:gd name="connsiteY99" fmla="*/ 6858000 h 6858000"/>
              <a:gd name="connsiteX100" fmla="*/ 1244663 w 9740963"/>
              <a:gd name="connsiteY100" fmla="*/ 5658367 h 6858000"/>
              <a:gd name="connsiteX101" fmla="*/ 1244664 w 9740963"/>
              <a:gd name="connsiteY101" fmla="*/ 5658368 h 6858000"/>
              <a:gd name="connsiteX102" fmla="*/ 1244664 w 9740963"/>
              <a:gd name="connsiteY102" fmla="*/ 5639889 h 6858000"/>
              <a:gd name="connsiteX103" fmla="*/ 1253501 w 9740963"/>
              <a:gd name="connsiteY103" fmla="*/ 5596117 h 6858000"/>
              <a:gd name="connsiteX104" fmla="*/ 1325978 w 9740963"/>
              <a:gd name="connsiteY104" fmla="*/ 5523641 h 6858000"/>
              <a:gd name="connsiteX105" fmla="*/ 1369746 w 9740963"/>
              <a:gd name="connsiteY105" fmla="*/ 5514804 h 6858000"/>
              <a:gd name="connsiteX106" fmla="*/ 9583907 w 9740963"/>
              <a:gd name="connsiteY106" fmla="*/ 3506125 h 6858000"/>
              <a:gd name="connsiteX107" fmla="*/ 9740963 w 9740963"/>
              <a:gd name="connsiteY107" fmla="*/ 3506125 h 6858000"/>
              <a:gd name="connsiteX108" fmla="*/ 9740963 w 9740963"/>
              <a:gd name="connsiteY108" fmla="*/ 3995469 h 6858000"/>
              <a:gd name="connsiteX109" fmla="*/ 9490281 w 9740963"/>
              <a:gd name="connsiteY109" fmla="*/ 3744788 h 6858000"/>
              <a:gd name="connsiteX110" fmla="*/ 9490279 w 9740963"/>
              <a:gd name="connsiteY110" fmla="*/ 3744786 h 6858000"/>
              <a:gd name="connsiteX111" fmla="*/ 9470329 w 9740963"/>
              <a:gd name="connsiteY111" fmla="*/ 3724837 h 6858000"/>
              <a:gd name="connsiteX112" fmla="*/ 9449177 w 9740963"/>
              <a:gd name="connsiteY112" fmla="*/ 3693462 h 6858000"/>
              <a:gd name="connsiteX113" fmla="*/ 9438473 w 9740963"/>
              <a:gd name="connsiteY113" fmla="*/ 3640451 h 6858000"/>
              <a:gd name="connsiteX114" fmla="*/ 9521653 w 9740963"/>
              <a:gd name="connsiteY114" fmla="*/ 3514963 h 6858000"/>
              <a:gd name="connsiteX115" fmla="*/ 9565421 w 9740963"/>
              <a:gd name="connsiteY115" fmla="*/ 3506126 h 6858000"/>
              <a:gd name="connsiteX116" fmla="*/ 9583907 w 9740963"/>
              <a:gd name="connsiteY116" fmla="*/ 3506126 h 6858000"/>
              <a:gd name="connsiteX117" fmla="*/ 9014977 w 9740963"/>
              <a:gd name="connsiteY117" fmla="*/ 3506125 h 6858000"/>
              <a:gd name="connsiteX118" fmla="*/ 9067989 w 9740963"/>
              <a:gd name="connsiteY118" fmla="*/ 3516828 h 6858000"/>
              <a:gd name="connsiteX119" fmla="*/ 9104189 w 9740963"/>
              <a:gd name="connsiteY119" fmla="*/ 3541235 h 6858000"/>
              <a:gd name="connsiteX120" fmla="*/ 9740963 w 9740963"/>
              <a:gd name="connsiteY120" fmla="*/ 4178008 h 6858000"/>
              <a:gd name="connsiteX121" fmla="*/ 9740963 w 9740963"/>
              <a:gd name="connsiteY121" fmla="*/ 5360553 h 6858000"/>
              <a:gd name="connsiteX122" fmla="*/ 9022355 w 9740963"/>
              <a:gd name="connsiteY122" fmla="*/ 5360553 h 6858000"/>
              <a:gd name="connsiteX123" fmla="*/ 9003869 w 9740963"/>
              <a:gd name="connsiteY123" fmla="*/ 5360552 h 6858000"/>
              <a:gd name="connsiteX124" fmla="*/ 8960101 w 9740963"/>
              <a:gd name="connsiteY124" fmla="*/ 5351716 h 6858000"/>
              <a:gd name="connsiteX125" fmla="*/ 8887625 w 9740963"/>
              <a:gd name="connsiteY125" fmla="*/ 5279239 h 6858000"/>
              <a:gd name="connsiteX126" fmla="*/ 8878787 w 9740963"/>
              <a:gd name="connsiteY126" fmla="*/ 5235467 h 6858000"/>
              <a:gd name="connsiteX127" fmla="*/ 8878787 w 9740963"/>
              <a:gd name="connsiteY127" fmla="*/ 5216989 h 6858000"/>
              <a:gd name="connsiteX128" fmla="*/ 8878787 w 9740963"/>
              <a:gd name="connsiteY128" fmla="*/ 5216988 h 6858000"/>
              <a:gd name="connsiteX129" fmla="*/ 8878787 w 9740963"/>
              <a:gd name="connsiteY129" fmla="*/ 3642317 h 6858000"/>
              <a:gd name="connsiteX130" fmla="*/ 8878787 w 9740963"/>
              <a:gd name="connsiteY130" fmla="*/ 3642316 h 6858000"/>
              <a:gd name="connsiteX131" fmla="*/ 9014977 w 9740963"/>
              <a:gd name="connsiteY131" fmla="*/ 3506125 h 6858000"/>
              <a:gd name="connsiteX132" fmla="*/ 8615441 w 9740963"/>
              <a:gd name="connsiteY132" fmla="*/ 3506125 h 6858000"/>
              <a:gd name="connsiteX133" fmla="*/ 8751631 w 9740963"/>
              <a:gd name="connsiteY133" fmla="*/ 3642316 h 6858000"/>
              <a:gd name="connsiteX134" fmla="*/ 8751631 w 9740963"/>
              <a:gd name="connsiteY134" fmla="*/ 3642317 h 6858000"/>
              <a:gd name="connsiteX135" fmla="*/ 8751631 w 9740963"/>
              <a:gd name="connsiteY135" fmla="*/ 5216988 h 6858000"/>
              <a:gd name="connsiteX136" fmla="*/ 8751631 w 9740963"/>
              <a:gd name="connsiteY136" fmla="*/ 5216989 h 6858000"/>
              <a:gd name="connsiteX137" fmla="*/ 8751631 w 9740963"/>
              <a:gd name="connsiteY137" fmla="*/ 5235467 h 6858000"/>
              <a:gd name="connsiteX138" fmla="*/ 8742793 w 9740963"/>
              <a:gd name="connsiteY138" fmla="*/ 5279239 h 6858000"/>
              <a:gd name="connsiteX139" fmla="*/ 8670317 w 9740963"/>
              <a:gd name="connsiteY139" fmla="*/ 5351716 h 6858000"/>
              <a:gd name="connsiteX140" fmla="*/ 8626549 w 9740963"/>
              <a:gd name="connsiteY140" fmla="*/ 5360552 h 6858000"/>
              <a:gd name="connsiteX141" fmla="*/ 8608063 w 9740963"/>
              <a:gd name="connsiteY141" fmla="*/ 5360553 h 6858000"/>
              <a:gd name="connsiteX142" fmla="*/ 7039199 w 9740963"/>
              <a:gd name="connsiteY142" fmla="*/ 5360553 h 6858000"/>
              <a:gd name="connsiteX143" fmla="*/ 7039199 w 9740963"/>
              <a:gd name="connsiteY143" fmla="*/ 5360552 h 6858000"/>
              <a:gd name="connsiteX144" fmla="*/ 7020713 w 9740963"/>
              <a:gd name="connsiteY144" fmla="*/ 5360552 h 6858000"/>
              <a:gd name="connsiteX145" fmla="*/ 6976945 w 9740963"/>
              <a:gd name="connsiteY145" fmla="*/ 5351716 h 6858000"/>
              <a:gd name="connsiteX146" fmla="*/ 6893765 w 9740963"/>
              <a:gd name="connsiteY146" fmla="*/ 5226228 h 6858000"/>
              <a:gd name="connsiteX147" fmla="*/ 6904469 w 9740963"/>
              <a:gd name="connsiteY147" fmla="*/ 5173216 h 6858000"/>
              <a:gd name="connsiteX148" fmla="*/ 6925621 w 9740963"/>
              <a:gd name="connsiteY148" fmla="*/ 5141842 h 6858000"/>
              <a:gd name="connsiteX149" fmla="*/ 6945571 w 9740963"/>
              <a:gd name="connsiteY149" fmla="*/ 5121892 h 6858000"/>
              <a:gd name="connsiteX150" fmla="*/ 6945573 w 9740963"/>
              <a:gd name="connsiteY150" fmla="*/ 5121891 h 6858000"/>
              <a:gd name="connsiteX151" fmla="*/ 8526229 w 9740963"/>
              <a:gd name="connsiteY151" fmla="*/ 3541235 h 6858000"/>
              <a:gd name="connsiteX152" fmla="*/ 8562429 w 9740963"/>
              <a:gd name="connsiteY152" fmla="*/ 3516828 h 6858000"/>
              <a:gd name="connsiteX153" fmla="*/ 8615441 w 9740963"/>
              <a:gd name="connsiteY153" fmla="*/ 3506125 h 6858000"/>
              <a:gd name="connsiteX154" fmla="*/ 6477647 w 9740963"/>
              <a:gd name="connsiteY154" fmla="*/ 3506125 h 6858000"/>
              <a:gd name="connsiteX155" fmla="*/ 8046511 w 9740963"/>
              <a:gd name="connsiteY155" fmla="*/ 3506125 h 6858000"/>
              <a:gd name="connsiteX156" fmla="*/ 8046511 w 9740963"/>
              <a:gd name="connsiteY156" fmla="*/ 3506126 h 6858000"/>
              <a:gd name="connsiteX157" fmla="*/ 8064997 w 9740963"/>
              <a:gd name="connsiteY157" fmla="*/ 3506126 h 6858000"/>
              <a:gd name="connsiteX158" fmla="*/ 8108765 w 9740963"/>
              <a:gd name="connsiteY158" fmla="*/ 3514963 h 6858000"/>
              <a:gd name="connsiteX159" fmla="*/ 8191945 w 9740963"/>
              <a:gd name="connsiteY159" fmla="*/ 3640451 h 6858000"/>
              <a:gd name="connsiteX160" fmla="*/ 8181241 w 9740963"/>
              <a:gd name="connsiteY160" fmla="*/ 3693462 h 6858000"/>
              <a:gd name="connsiteX161" fmla="*/ 8160089 w 9740963"/>
              <a:gd name="connsiteY161" fmla="*/ 3724837 h 6858000"/>
              <a:gd name="connsiteX162" fmla="*/ 8140139 w 9740963"/>
              <a:gd name="connsiteY162" fmla="*/ 3744786 h 6858000"/>
              <a:gd name="connsiteX163" fmla="*/ 8140137 w 9740963"/>
              <a:gd name="connsiteY163" fmla="*/ 3744788 h 6858000"/>
              <a:gd name="connsiteX164" fmla="*/ 6559481 w 9740963"/>
              <a:gd name="connsiteY164" fmla="*/ 5325443 h 6858000"/>
              <a:gd name="connsiteX165" fmla="*/ 6523281 w 9740963"/>
              <a:gd name="connsiteY165" fmla="*/ 5349850 h 6858000"/>
              <a:gd name="connsiteX166" fmla="*/ 6470269 w 9740963"/>
              <a:gd name="connsiteY166" fmla="*/ 5360553 h 6858000"/>
              <a:gd name="connsiteX167" fmla="*/ 6334079 w 9740963"/>
              <a:gd name="connsiteY167" fmla="*/ 5224362 h 6858000"/>
              <a:gd name="connsiteX168" fmla="*/ 6334079 w 9740963"/>
              <a:gd name="connsiteY168" fmla="*/ 3649690 h 6858000"/>
              <a:gd name="connsiteX169" fmla="*/ 6334079 w 9740963"/>
              <a:gd name="connsiteY169" fmla="*/ 3649689 h 6858000"/>
              <a:gd name="connsiteX170" fmla="*/ 6334079 w 9740963"/>
              <a:gd name="connsiteY170" fmla="*/ 3631211 h 6858000"/>
              <a:gd name="connsiteX171" fmla="*/ 6342917 w 9740963"/>
              <a:gd name="connsiteY171" fmla="*/ 3587439 h 6858000"/>
              <a:gd name="connsiteX172" fmla="*/ 6415393 w 9740963"/>
              <a:gd name="connsiteY172" fmla="*/ 3514963 h 6858000"/>
              <a:gd name="connsiteX173" fmla="*/ 6459161 w 9740963"/>
              <a:gd name="connsiteY173" fmla="*/ 3506126 h 6858000"/>
              <a:gd name="connsiteX174" fmla="*/ 4494492 w 9740963"/>
              <a:gd name="connsiteY174" fmla="*/ 3506125 h 6858000"/>
              <a:gd name="connsiteX175" fmla="*/ 6063355 w 9740963"/>
              <a:gd name="connsiteY175" fmla="*/ 3506125 h 6858000"/>
              <a:gd name="connsiteX176" fmla="*/ 6081841 w 9740963"/>
              <a:gd name="connsiteY176" fmla="*/ 3506126 h 6858000"/>
              <a:gd name="connsiteX177" fmla="*/ 6125609 w 9740963"/>
              <a:gd name="connsiteY177" fmla="*/ 3514963 h 6858000"/>
              <a:gd name="connsiteX178" fmla="*/ 6198085 w 9740963"/>
              <a:gd name="connsiteY178" fmla="*/ 3587439 h 6858000"/>
              <a:gd name="connsiteX179" fmla="*/ 6206923 w 9740963"/>
              <a:gd name="connsiteY179" fmla="*/ 3631211 h 6858000"/>
              <a:gd name="connsiteX180" fmla="*/ 6206923 w 9740963"/>
              <a:gd name="connsiteY180" fmla="*/ 3649689 h 6858000"/>
              <a:gd name="connsiteX181" fmla="*/ 6206923 w 9740963"/>
              <a:gd name="connsiteY181" fmla="*/ 3649690 h 6858000"/>
              <a:gd name="connsiteX182" fmla="*/ 6206923 w 9740963"/>
              <a:gd name="connsiteY182" fmla="*/ 5224362 h 6858000"/>
              <a:gd name="connsiteX183" fmla="*/ 6070733 w 9740963"/>
              <a:gd name="connsiteY183" fmla="*/ 5360553 h 6858000"/>
              <a:gd name="connsiteX184" fmla="*/ 6017721 w 9740963"/>
              <a:gd name="connsiteY184" fmla="*/ 5349850 h 6858000"/>
              <a:gd name="connsiteX185" fmla="*/ 5981521 w 9740963"/>
              <a:gd name="connsiteY185" fmla="*/ 5325443 h 6858000"/>
              <a:gd name="connsiteX186" fmla="*/ 4400866 w 9740963"/>
              <a:gd name="connsiteY186" fmla="*/ 3744788 h 6858000"/>
              <a:gd name="connsiteX187" fmla="*/ 4400864 w 9740963"/>
              <a:gd name="connsiteY187" fmla="*/ 3744786 h 6858000"/>
              <a:gd name="connsiteX188" fmla="*/ 4380913 w 9740963"/>
              <a:gd name="connsiteY188" fmla="*/ 3724837 h 6858000"/>
              <a:gd name="connsiteX189" fmla="*/ 4359762 w 9740963"/>
              <a:gd name="connsiteY189" fmla="*/ 3693462 h 6858000"/>
              <a:gd name="connsiteX190" fmla="*/ 4349058 w 9740963"/>
              <a:gd name="connsiteY190" fmla="*/ 3640451 h 6858000"/>
              <a:gd name="connsiteX191" fmla="*/ 4432239 w 9740963"/>
              <a:gd name="connsiteY191" fmla="*/ 3514963 h 6858000"/>
              <a:gd name="connsiteX192" fmla="*/ 4476005 w 9740963"/>
              <a:gd name="connsiteY192" fmla="*/ 3506126 h 6858000"/>
              <a:gd name="connsiteX193" fmla="*/ 4494492 w 9740963"/>
              <a:gd name="connsiteY193" fmla="*/ 3506126 h 6858000"/>
              <a:gd name="connsiteX194" fmla="*/ 3925563 w 9740963"/>
              <a:gd name="connsiteY194" fmla="*/ 3506125 h 6858000"/>
              <a:gd name="connsiteX195" fmla="*/ 3978574 w 9740963"/>
              <a:gd name="connsiteY195" fmla="*/ 3516828 h 6858000"/>
              <a:gd name="connsiteX196" fmla="*/ 4014774 w 9740963"/>
              <a:gd name="connsiteY196" fmla="*/ 3541235 h 6858000"/>
              <a:gd name="connsiteX197" fmla="*/ 5595430 w 9740963"/>
              <a:gd name="connsiteY197" fmla="*/ 5121891 h 6858000"/>
              <a:gd name="connsiteX198" fmla="*/ 5595432 w 9740963"/>
              <a:gd name="connsiteY198" fmla="*/ 5121892 h 6858000"/>
              <a:gd name="connsiteX199" fmla="*/ 5615381 w 9740963"/>
              <a:gd name="connsiteY199" fmla="*/ 5141842 h 6858000"/>
              <a:gd name="connsiteX200" fmla="*/ 5636534 w 9740963"/>
              <a:gd name="connsiteY200" fmla="*/ 5173216 h 6858000"/>
              <a:gd name="connsiteX201" fmla="*/ 5647237 w 9740963"/>
              <a:gd name="connsiteY201" fmla="*/ 5226228 h 6858000"/>
              <a:gd name="connsiteX202" fmla="*/ 5564057 w 9740963"/>
              <a:gd name="connsiteY202" fmla="*/ 5351716 h 6858000"/>
              <a:gd name="connsiteX203" fmla="*/ 5520289 w 9740963"/>
              <a:gd name="connsiteY203" fmla="*/ 5360552 h 6858000"/>
              <a:gd name="connsiteX204" fmla="*/ 5501803 w 9740963"/>
              <a:gd name="connsiteY204" fmla="*/ 5360552 h 6858000"/>
              <a:gd name="connsiteX205" fmla="*/ 5501803 w 9740963"/>
              <a:gd name="connsiteY205" fmla="*/ 5360553 h 6858000"/>
              <a:gd name="connsiteX206" fmla="*/ 3932940 w 9740963"/>
              <a:gd name="connsiteY206" fmla="*/ 5360553 h 6858000"/>
              <a:gd name="connsiteX207" fmla="*/ 3914454 w 9740963"/>
              <a:gd name="connsiteY207" fmla="*/ 5360552 h 6858000"/>
              <a:gd name="connsiteX208" fmla="*/ 3870687 w 9740963"/>
              <a:gd name="connsiteY208" fmla="*/ 5351716 h 6858000"/>
              <a:gd name="connsiteX209" fmla="*/ 3798210 w 9740963"/>
              <a:gd name="connsiteY209" fmla="*/ 5279239 h 6858000"/>
              <a:gd name="connsiteX210" fmla="*/ 3789372 w 9740963"/>
              <a:gd name="connsiteY210" fmla="*/ 5235467 h 6858000"/>
              <a:gd name="connsiteX211" fmla="*/ 3789372 w 9740963"/>
              <a:gd name="connsiteY211" fmla="*/ 5216988 h 6858000"/>
              <a:gd name="connsiteX212" fmla="*/ 3789371 w 9740963"/>
              <a:gd name="connsiteY212" fmla="*/ 5216989 h 6858000"/>
              <a:gd name="connsiteX213" fmla="*/ 3789371 w 9740963"/>
              <a:gd name="connsiteY213" fmla="*/ 3642317 h 6858000"/>
              <a:gd name="connsiteX214" fmla="*/ 3789371 w 9740963"/>
              <a:gd name="connsiteY214" fmla="*/ 3642316 h 6858000"/>
              <a:gd name="connsiteX215" fmla="*/ 3925563 w 9740963"/>
              <a:gd name="connsiteY215" fmla="*/ 3506125 h 6858000"/>
              <a:gd name="connsiteX216" fmla="*/ 3526024 w 9740963"/>
              <a:gd name="connsiteY216" fmla="*/ 3506125 h 6858000"/>
              <a:gd name="connsiteX217" fmla="*/ 3662215 w 9740963"/>
              <a:gd name="connsiteY217" fmla="*/ 3642316 h 6858000"/>
              <a:gd name="connsiteX218" fmla="*/ 3662215 w 9740963"/>
              <a:gd name="connsiteY218" fmla="*/ 3642317 h 6858000"/>
              <a:gd name="connsiteX219" fmla="*/ 3662215 w 9740963"/>
              <a:gd name="connsiteY219" fmla="*/ 5216988 h 6858000"/>
              <a:gd name="connsiteX220" fmla="*/ 3662215 w 9740963"/>
              <a:gd name="connsiteY220" fmla="*/ 5216989 h 6858000"/>
              <a:gd name="connsiteX221" fmla="*/ 3662215 w 9740963"/>
              <a:gd name="connsiteY221" fmla="*/ 5235467 h 6858000"/>
              <a:gd name="connsiteX222" fmla="*/ 3653377 w 9740963"/>
              <a:gd name="connsiteY222" fmla="*/ 5279239 h 6858000"/>
              <a:gd name="connsiteX223" fmla="*/ 3580900 w 9740963"/>
              <a:gd name="connsiteY223" fmla="*/ 5351716 h 6858000"/>
              <a:gd name="connsiteX224" fmla="*/ 3537132 w 9740963"/>
              <a:gd name="connsiteY224" fmla="*/ 5360552 h 6858000"/>
              <a:gd name="connsiteX225" fmla="*/ 3518647 w 9740963"/>
              <a:gd name="connsiteY225" fmla="*/ 5360553 h 6858000"/>
              <a:gd name="connsiteX226" fmla="*/ 1949784 w 9740963"/>
              <a:gd name="connsiteY226" fmla="*/ 5360553 h 6858000"/>
              <a:gd name="connsiteX227" fmla="*/ 1949784 w 9740963"/>
              <a:gd name="connsiteY227" fmla="*/ 5360552 h 6858000"/>
              <a:gd name="connsiteX228" fmla="*/ 1931296 w 9740963"/>
              <a:gd name="connsiteY228" fmla="*/ 5360552 h 6858000"/>
              <a:gd name="connsiteX229" fmla="*/ 1887528 w 9740963"/>
              <a:gd name="connsiteY229" fmla="*/ 5351716 h 6858000"/>
              <a:gd name="connsiteX230" fmla="*/ 1804350 w 9740963"/>
              <a:gd name="connsiteY230" fmla="*/ 5226228 h 6858000"/>
              <a:gd name="connsiteX231" fmla="*/ 1815052 w 9740963"/>
              <a:gd name="connsiteY231" fmla="*/ 5173216 h 6858000"/>
              <a:gd name="connsiteX232" fmla="*/ 1836205 w 9740963"/>
              <a:gd name="connsiteY232" fmla="*/ 5141842 h 6858000"/>
              <a:gd name="connsiteX233" fmla="*/ 1856154 w 9740963"/>
              <a:gd name="connsiteY233" fmla="*/ 5121892 h 6858000"/>
              <a:gd name="connsiteX234" fmla="*/ 1856156 w 9740963"/>
              <a:gd name="connsiteY234" fmla="*/ 5121891 h 6858000"/>
              <a:gd name="connsiteX235" fmla="*/ 3436812 w 9740963"/>
              <a:gd name="connsiteY235" fmla="*/ 3541235 h 6858000"/>
              <a:gd name="connsiteX236" fmla="*/ 3473013 w 9740963"/>
              <a:gd name="connsiteY236" fmla="*/ 3516828 h 6858000"/>
              <a:gd name="connsiteX237" fmla="*/ 3526024 w 9740963"/>
              <a:gd name="connsiteY237" fmla="*/ 3506125 h 6858000"/>
              <a:gd name="connsiteX238" fmla="*/ 9740963 w 9740963"/>
              <a:gd name="connsiteY238" fmla="*/ 2862533 h 6858000"/>
              <a:gd name="connsiteX239" fmla="*/ 9740963 w 9740963"/>
              <a:gd name="connsiteY239" fmla="*/ 3351876 h 6858000"/>
              <a:gd name="connsiteX240" fmla="*/ 9583907 w 9740963"/>
              <a:gd name="connsiteY240" fmla="*/ 3351876 h 6858000"/>
              <a:gd name="connsiteX241" fmla="*/ 9583907 w 9740963"/>
              <a:gd name="connsiteY241" fmla="*/ 3351875 h 6858000"/>
              <a:gd name="connsiteX242" fmla="*/ 9565421 w 9740963"/>
              <a:gd name="connsiteY242" fmla="*/ 3351875 h 6858000"/>
              <a:gd name="connsiteX243" fmla="*/ 9521653 w 9740963"/>
              <a:gd name="connsiteY243" fmla="*/ 3343039 h 6858000"/>
              <a:gd name="connsiteX244" fmla="*/ 9438473 w 9740963"/>
              <a:gd name="connsiteY244" fmla="*/ 3217551 h 6858000"/>
              <a:gd name="connsiteX245" fmla="*/ 9449177 w 9740963"/>
              <a:gd name="connsiteY245" fmla="*/ 3164541 h 6858000"/>
              <a:gd name="connsiteX246" fmla="*/ 9470329 w 9740963"/>
              <a:gd name="connsiteY246" fmla="*/ 3133166 h 6858000"/>
              <a:gd name="connsiteX247" fmla="*/ 9490279 w 9740963"/>
              <a:gd name="connsiteY247" fmla="*/ 3113216 h 6858000"/>
              <a:gd name="connsiteX248" fmla="*/ 9490281 w 9740963"/>
              <a:gd name="connsiteY248" fmla="*/ 3113215 h 6858000"/>
              <a:gd name="connsiteX249" fmla="*/ 9022355 w 9740963"/>
              <a:gd name="connsiteY249" fmla="*/ 1497450 h 6858000"/>
              <a:gd name="connsiteX250" fmla="*/ 9740963 w 9740963"/>
              <a:gd name="connsiteY250" fmla="*/ 1497450 h 6858000"/>
              <a:gd name="connsiteX251" fmla="*/ 9740963 w 9740963"/>
              <a:gd name="connsiteY251" fmla="*/ 2679993 h 6858000"/>
              <a:gd name="connsiteX252" fmla="*/ 9104189 w 9740963"/>
              <a:gd name="connsiteY252" fmla="*/ 3316766 h 6858000"/>
              <a:gd name="connsiteX253" fmla="*/ 9067989 w 9740963"/>
              <a:gd name="connsiteY253" fmla="*/ 3341173 h 6858000"/>
              <a:gd name="connsiteX254" fmla="*/ 9014977 w 9740963"/>
              <a:gd name="connsiteY254" fmla="*/ 3351876 h 6858000"/>
              <a:gd name="connsiteX255" fmla="*/ 8878787 w 9740963"/>
              <a:gd name="connsiteY255" fmla="*/ 3215686 h 6858000"/>
              <a:gd name="connsiteX256" fmla="*/ 8878787 w 9740963"/>
              <a:gd name="connsiteY256" fmla="*/ 3215685 h 6858000"/>
              <a:gd name="connsiteX257" fmla="*/ 8878787 w 9740963"/>
              <a:gd name="connsiteY257" fmla="*/ 1641015 h 6858000"/>
              <a:gd name="connsiteX258" fmla="*/ 8878787 w 9740963"/>
              <a:gd name="connsiteY258" fmla="*/ 1641014 h 6858000"/>
              <a:gd name="connsiteX259" fmla="*/ 8878787 w 9740963"/>
              <a:gd name="connsiteY259" fmla="*/ 1622536 h 6858000"/>
              <a:gd name="connsiteX260" fmla="*/ 8887625 w 9740963"/>
              <a:gd name="connsiteY260" fmla="*/ 1578764 h 6858000"/>
              <a:gd name="connsiteX261" fmla="*/ 8960101 w 9740963"/>
              <a:gd name="connsiteY261" fmla="*/ 1506287 h 6858000"/>
              <a:gd name="connsiteX262" fmla="*/ 9003869 w 9740963"/>
              <a:gd name="connsiteY262" fmla="*/ 1497451 h 6858000"/>
              <a:gd name="connsiteX263" fmla="*/ 7039199 w 9740963"/>
              <a:gd name="connsiteY263" fmla="*/ 1497450 h 6858000"/>
              <a:gd name="connsiteX264" fmla="*/ 8608063 w 9740963"/>
              <a:gd name="connsiteY264" fmla="*/ 1497450 h 6858000"/>
              <a:gd name="connsiteX265" fmla="*/ 8626549 w 9740963"/>
              <a:gd name="connsiteY265" fmla="*/ 1497451 h 6858000"/>
              <a:gd name="connsiteX266" fmla="*/ 8670317 w 9740963"/>
              <a:gd name="connsiteY266" fmla="*/ 1506287 h 6858000"/>
              <a:gd name="connsiteX267" fmla="*/ 8742793 w 9740963"/>
              <a:gd name="connsiteY267" fmla="*/ 1578764 h 6858000"/>
              <a:gd name="connsiteX268" fmla="*/ 8751631 w 9740963"/>
              <a:gd name="connsiteY268" fmla="*/ 1622536 h 6858000"/>
              <a:gd name="connsiteX269" fmla="*/ 8751631 w 9740963"/>
              <a:gd name="connsiteY269" fmla="*/ 1641014 h 6858000"/>
              <a:gd name="connsiteX270" fmla="*/ 8751631 w 9740963"/>
              <a:gd name="connsiteY270" fmla="*/ 1641015 h 6858000"/>
              <a:gd name="connsiteX271" fmla="*/ 8751631 w 9740963"/>
              <a:gd name="connsiteY271" fmla="*/ 3215685 h 6858000"/>
              <a:gd name="connsiteX272" fmla="*/ 8751631 w 9740963"/>
              <a:gd name="connsiteY272" fmla="*/ 3215686 h 6858000"/>
              <a:gd name="connsiteX273" fmla="*/ 8615441 w 9740963"/>
              <a:gd name="connsiteY273" fmla="*/ 3351876 h 6858000"/>
              <a:gd name="connsiteX274" fmla="*/ 8562429 w 9740963"/>
              <a:gd name="connsiteY274" fmla="*/ 3341173 h 6858000"/>
              <a:gd name="connsiteX275" fmla="*/ 8526229 w 9740963"/>
              <a:gd name="connsiteY275" fmla="*/ 3316766 h 6858000"/>
              <a:gd name="connsiteX276" fmla="*/ 6945573 w 9740963"/>
              <a:gd name="connsiteY276" fmla="*/ 1736112 h 6858000"/>
              <a:gd name="connsiteX277" fmla="*/ 6945571 w 9740963"/>
              <a:gd name="connsiteY277" fmla="*/ 1736111 h 6858000"/>
              <a:gd name="connsiteX278" fmla="*/ 6925621 w 9740963"/>
              <a:gd name="connsiteY278" fmla="*/ 1716161 h 6858000"/>
              <a:gd name="connsiteX279" fmla="*/ 6904469 w 9740963"/>
              <a:gd name="connsiteY279" fmla="*/ 1684787 h 6858000"/>
              <a:gd name="connsiteX280" fmla="*/ 6893765 w 9740963"/>
              <a:gd name="connsiteY280" fmla="*/ 1631775 h 6858000"/>
              <a:gd name="connsiteX281" fmla="*/ 6976945 w 9740963"/>
              <a:gd name="connsiteY281" fmla="*/ 1506287 h 6858000"/>
              <a:gd name="connsiteX282" fmla="*/ 7020713 w 9740963"/>
              <a:gd name="connsiteY282" fmla="*/ 1497451 h 6858000"/>
              <a:gd name="connsiteX283" fmla="*/ 7039199 w 9740963"/>
              <a:gd name="connsiteY283" fmla="*/ 1497451 h 6858000"/>
              <a:gd name="connsiteX284" fmla="*/ 6470269 w 9740963"/>
              <a:gd name="connsiteY284" fmla="*/ 1497450 h 6858000"/>
              <a:gd name="connsiteX285" fmla="*/ 6523281 w 9740963"/>
              <a:gd name="connsiteY285" fmla="*/ 1508153 h 6858000"/>
              <a:gd name="connsiteX286" fmla="*/ 6559481 w 9740963"/>
              <a:gd name="connsiteY286" fmla="*/ 1532560 h 6858000"/>
              <a:gd name="connsiteX287" fmla="*/ 8140137 w 9740963"/>
              <a:gd name="connsiteY287" fmla="*/ 3113215 h 6858000"/>
              <a:gd name="connsiteX288" fmla="*/ 8140139 w 9740963"/>
              <a:gd name="connsiteY288" fmla="*/ 3113216 h 6858000"/>
              <a:gd name="connsiteX289" fmla="*/ 8160089 w 9740963"/>
              <a:gd name="connsiteY289" fmla="*/ 3133166 h 6858000"/>
              <a:gd name="connsiteX290" fmla="*/ 8181241 w 9740963"/>
              <a:gd name="connsiteY290" fmla="*/ 3164541 h 6858000"/>
              <a:gd name="connsiteX291" fmla="*/ 8191945 w 9740963"/>
              <a:gd name="connsiteY291" fmla="*/ 3217551 h 6858000"/>
              <a:gd name="connsiteX292" fmla="*/ 8108765 w 9740963"/>
              <a:gd name="connsiteY292" fmla="*/ 3343039 h 6858000"/>
              <a:gd name="connsiteX293" fmla="*/ 8064997 w 9740963"/>
              <a:gd name="connsiteY293" fmla="*/ 3351875 h 6858000"/>
              <a:gd name="connsiteX294" fmla="*/ 8046511 w 9740963"/>
              <a:gd name="connsiteY294" fmla="*/ 3351875 h 6858000"/>
              <a:gd name="connsiteX295" fmla="*/ 8046511 w 9740963"/>
              <a:gd name="connsiteY295" fmla="*/ 3351876 h 6858000"/>
              <a:gd name="connsiteX296" fmla="*/ 6477647 w 9740963"/>
              <a:gd name="connsiteY296" fmla="*/ 3351876 h 6858000"/>
              <a:gd name="connsiteX297" fmla="*/ 6459161 w 9740963"/>
              <a:gd name="connsiteY297" fmla="*/ 3351875 h 6858000"/>
              <a:gd name="connsiteX298" fmla="*/ 6415393 w 9740963"/>
              <a:gd name="connsiteY298" fmla="*/ 3343039 h 6858000"/>
              <a:gd name="connsiteX299" fmla="*/ 6342917 w 9740963"/>
              <a:gd name="connsiteY299" fmla="*/ 3270562 h 6858000"/>
              <a:gd name="connsiteX300" fmla="*/ 6334079 w 9740963"/>
              <a:gd name="connsiteY300" fmla="*/ 3226790 h 6858000"/>
              <a:gd name="connsiteX301" fmla="*/ 6334079 w 9740963"/>
              <a:gd name="connsiteY301" fmla="*/ 3208313 h 6858000"/>
              <a:gd name="connsiteX302" fmla="*/ 6334079 w 9740963"/>
              <a:gd name="connsiteY302" fmla="*/ 3208312 h 6858000"/>
              <a:gd name="connsiteX303" fmla="*/ 6334079 w 9740963"/>
              <a:gd name="connsiteY303" fmla="*/ 1633642 h 6858000"/>
              <a:gd name="connsiteX304" fmla="*/ 6334079 w 9740963"/>
              <a:gd name="connsiteY304" fmla="*/ 1633641 h 6858000"/>
              <a:gd name="connsiteX305" fmla="*/ 6470269 w 9740963"/>
              <a:gd name="connsiteY305" fmla="*/ 1497450 h 6858000"/>
              <a:gd name="connsiteX306" fmla="*/ 6070733 w 9740963"/>
              <a:gd name="connsiteY306" fmla="*/ 1497450 h 6858000"/>
              <a:gd name="connsiteX307" fmla="*/ 6206923 w 9740963"/>
              <a:gd name="connsiteY307" fmla="*/ 1633641 h 6858000"/>
              <a:gd name="connsiteX308" fmla="*/ 6206923 w 9740963"/>
              <a:gd name="connsiteY308" fmla="*/ 1633642 h 6858000"/>
              <a:gd name="connsiteX309" fmla="*/ 6206923 w 9740963"/>
              <a:gd name="connsiteY309" fmla="*/ 3208312 h 6858000"/>
              <a:gd name="connsiteX310" fmla="*/ 6206923 w 9740963"/>
              <a:gd name="connsiteY310" fmla="*/ 3208313 h 6858000"/>
              <a:gd name="connsiteX311" fmla="*/ 6206923 w 9740963"/>
              <a:gd name="connsiteY311" fmla="*/ 3226790 h 6858000"/>
              <a:gd name="connsiteX312" fmla="*/ 6198085 w 9740963"/>
              <a:gd name="connsiteY312" fmla="*/ 3270562 h 6858000"/>
              <a:gd name="connsiteX313" fmla="*/ 6125609 w 9740963"/>
              <a:gd name="connsiteY313" fmla="*/ 3343039 h 6858000"/>
              <a:gd name="connsiteX314" fmla="*/ 6081841 w 9740963"/>
              <a:gd name="connsiteY314" fmla="*/ 3351875 h 6858000"/>
              <a:gd name="connsiteX315" fmla="*/ 6063355 w 9740963"/>
              <a:gd name="connsiteY315" fmla="*/ 3351876 h 6858000"/>
              <a:gd name="connsiteX316" fmla="*/ 4494492 w 9740963"/>
              <a:gd name="connsiteY316" fmla="*/ 3351876 h 6858000"/>
              <a:gd name="connsiteX317" fmla="*/ 4494492 w 9740963"/>
              <a:gd name="connsiteY317" fmla="*/ 3351875 h 6858000"/>
              <a:gd name="connsiteX318" fmla="*/ 4476005 w 9740963"/>
              <a:gd name="connsiteY318" fmla="*/ 3351875 h 6858000"/>
              <a:gd name="connsiteX319" fmla="*/ 4432239 w 9740963"/>
              <a:gd name="connsiteY319" fmla="*/ 3343039 h 6858000"/>
              <a:gd name="connsiteX320" fmla="*/ 4349059 w 9740963"/>
              <a:gd name="connsiteY320" fmla="*/ 3217551 h 6858000"/>
              <a:gd name="connsiteX321" fmla="*/ 4359762 w 9740963"/>
              <a:gd name="connsiteY321" fmla="*/ 3164541 h 6858000"/>
              <a:gd name="connsiteX322" fmla="*/ 4380915 w 9740963"/>
              <a:gd name="connsiteY322" fmla="*/ 3133166 h 6858000"/>
              <a:gd name="connsiteX323" fmla="*/ 4400864 w 9740963"/>
              <a:gd name="connsiteY323" fmla="*/ 3113216 h 6858000"/>
              <a:gd name="connsiteX324" fmla="*/ 4400867 w 9740963"/>
              <a:gd name="connsiteY324" fmla="*/ 3113215 h 6858000"/>
              <a:gd name="connsiteX325" fmla="*/ 5981521 w 9740963"/>
              <a:gd name="connsiteY325" fmla="*/ 1532560 h 6858000"/>
              <a:gd name="connsiteX326" fmla="*/ 6017721 w 9740963"/>
              <a:gd name="connsiteY326" fmla="*/ 1508153 h 6858000"/>
              <a:gd name="connsiteX327" fmla="*/ 6070733 w 9740963"/>
              <a:gd name="connsiteY327" fmla="*/ 1497450 h 6858000"/>
              <a:gd name="connsiteX328" fmla="*/ 3932943 w 9740963"/>
              <a:gd name="connsiteY328" fmla="*/ 1497450 h 6858000"/>
              <a:gd name="connsiteX329" fmla="*/ 5501803 w 9740963"/>
              <a:gd name="connsiteY329" fmla="*/ 1497450 h 6858000"/>
              <a:gd name="connsiteX330" fmla="*/ 5501803 w 9740963"/>
              <a:gd name="connsiteY330" fmla="*/ 1497451 h 6858000"/>
              <a:gd name="connsiteX331" fmla="*/ 5520290 w 9740963"/>
              <a:gd name="connsiteY331" fmla="*/ 1497451 h 6858000"/>
              <a:gd name="connsiteX332" fmla="*/ 5564058 w 9740963"/>
              <a:gd name="connsiteY332" fmla="*/ 1506287 h 6858000"/>
              <a:gd name="connsiteX333" fmla="*/ 5647237 w 9740963"/>
              <a:gd name="connsiteY333" fmla="*/ 1631775 h 6858000"/>
              <a:gd name="connsiteX334" fmla="*/ 5636534 w 9740963"/>
              <a:gd name="connsiteY334" fmla="*/ 1684787 h 6858000"/>
              <a:gd name="connsiteX335" fmla="*/ 5615382 w 9740963"/>
              <a:gd name="connsiteY335" fmla="*/ 1716161 h 6858000"/>
              <a:gd name="connsiteX336" fmla="*/ 5595432 w 9740963"/>
              <a:gd name="connsiteY336" fmla="*/ 1736111 h 6858000"/>
              <a:gd name="connsiteX337" fmla="*/ 5595430 w 9740963"/>
              <a:gd name="connsiteY337" fmla="*/ 1736112 h 6858000"/>
              <a:gd name="connsiteX338" fmla="*/ 4014775 w 9740963"/>
              <a:gd name="connsiteY338" fmla="*/ 3316766 h 6858000"/>
              <a:gd name="connsiteX339" fmla="*/ 3978575 w 9740963"/>
              <a:gd name="connsiteY339" fmla="*/ 3341173 h 6858000"/>
              <a:gd name="connsiteX340" fmla="*/ 3925563 w 9740963"/>
              <a:gd name="connsiteY340" fmla="*/ 3351876 h 6858000"/>
              <a:gd name="connsiteX341" fmla="*/ 3789371 w 9740963"/>
              <a:gd name="connsiteY341" fmla="*/ 3215686 h 6858000"/>
              <a:gd name="connsiteX342" fmla="*/ 3789371 w 9740963"/>
              <a:gd name="connsiteY342" fmla="*/ 3215685 h 6858000"/>
              <a:gd name="connsiteX343" fmla="*/ 3789372 w 9740963"/>
              <a:gd name="connsiteY343" fmla="*/ 1641014 h 6858000"/>
              <a:gd name="connsiteX344" fmla="*/ 3789374 w 9740963"/>
              <a:gd name="connsiteY344" fmla="*/ 1641015 h 6858000"/>
              <a:gd name="connsiteX345" fmla="*/ 3789374 w 9740963"/>
              <a:gd name="connsiteY345" fmla="*/ 1622536 h 6858000"/>
              <a:gd name="connsiteX346" fmla="*/ 3798210 w 9740963"/>
              <a:gd name="connsiteY346" fmla="*/ 1578764 h 6858000"/>
              <a:gd name="connsiteX347" fmla="*/ 3870687 w 9740963"/>
              <a:gd name="connsiteY347" fmla="*/ 1506287 h 6858000"/>
              <a:gd name="connsiteX348" fmla="*/ 3914456 w 9740963"/>
              <a:gd name="connsiteY348" fmla="*/ 1497451 h 6858000"/>
              <a:gd name="connsiteX349" fmla="*/ 1949785 w 9740963"/>
              <a:gd name="connsiteY349" fmla="*/ 1497450 h 6858000"/>
              <a:gd name="connsiteX350" fmla="*/ 3518648 w 9740963"/>
              <a:gd name="connsiteY350" fmla="*/ 1497450 h 6858000"/>
              <a:gd name="connsiteX351" fmla="*/ 3537134 w 9740963"/>
              <a:gd name="connsiteY351" fmla="*/ 1497451 h 6858000"/>
              <a:gd name="connsiteX352" fmla="*/ 3580902 w 9740963"/>
              <a:gd name="connsiteY352" fmla="*/ 1506287 h 6858000"/>
              <a:gd name="connsiteX353" fmla="*/ 3653380 w 9740963"/>
              <a:gd name="connsiteY353" fmla="*/ 1578764 h 6858000"/>
              <a:gd name="connsiteX354" fmla="*/ 3662216 w 9740963"/>
              <a:gd name="connsiteY354" fmla="*/ 1622536 h 6858000"/>
              <a:gd name="connsiteX355" fmla="*/ 3662216 w 9740963"/>
              <a:gd name="connsiteY355" fmla="*/ 1641015 h 6858000"/>
              <a:gd name="connsiteX356" fmla="*/ 3662218 w 9740963"/>
              <a:gd name="connsiteY356" fmla="*/ 1641014 h 6858000"/>
              <a:gd name="connsiteX357" fmla="*/ 3662217 w 9740963"/>
              <a:gd name="connsiteY357" fmla="*/ 3215685 h 6858000"/>
              <a:gd name="connsiteX358" fmla="*/ 3662217 w 9740963"/>
              <a:gd name="connsiteY358" fmla="*/ 3215686 h 6858000"/>
              <a:gd name="connsiteX359" fmla="*/ 3526026 w 9740963"/>
              <a:gd name="connsiteY359" fmla="*/ 3351876 h 6858000"/>
              <a:gd name="connsiteX360" fmla="*/ 3473014 w 9740963"/>
              <a:gd name="connsiteY360" fmla="*/ 3341173 h 6858000"/>
              <a:gd name="connsiteX361" fmla="*/ 3436813 w 9740963"/>
              <a:gd name="connsiteY361" fmla="*/ 3316766 h 6858000"/>
              <a:gd name="connsiteX362" fmla="*/ 1856157 w 9740963"/>
              <a:gd name="connsiteY362" fmla="*/ 1736112 h 6858000"/>
              <a:gd name="connsiteX363" fmla="*/ 1856156 w 9740963"/>
              <a:gd name="connsiteY363" fmla="*/ 1736111 h 6858000"/>
              <a:gd name="connsiteX364" fmla="*/ 1836206 w 9740963"/>
              <a:gd name="connsiteY364" fmla="*/ 1716161 h 6858000"/>
              <a:gd name="connsiteX365" fmla="*/ 1815054 w 9740963"/>
              <a:gd name="connsiteY365" fmla="*/ 1684787 h 6858000"/>
              <a:gd name="connsiteX366" fmla="*/ 1804351 w 9740963"/>
              <a:gd name="connsiteY366" fmla="*/ 1631775 h 6858000"/>
              <a:gd name="connsiteX367" fmla="*/ 1887531 w 9740963"/>
              <a:gd name="connsiteY367" fmla="*/ 1506287 h 6858000"/>
              <a:gd name="connsiteX368" fmla="*/ 1931299 w 9740963"/>
              <a:gd name="connsiteY368" fmla="*/ 1497451 h 6858000"/>
              <a:gd name="connsiteX369" fmla="*/ 1949785 w 9740963"/>
              <a:gd name="connsiteY369" fmla="*/ 1497451 h 6858000"/>
              <a:gd name="connsiteX370" fmla="*/ 9740963 w 9740963"/>
              <a:gd name="connsiteY370" fmla="*/ 853857 h 6858000"/>
              <a:gd name="connsiteX371" fmla="*/ 9740963 w 9740963"/>
              <a:gd name="connsiteY371" fmla="*/ 1343201 h 6858000"/>
              <a:gd name="connsiteX372" fmla="*/ 9583907 w 9740963"/>
              <a:gd name="connsiteY372" fmla="*/ 1343201 h 6858000"/>
              <a:gd name="connsiteX373" fmla="*/ 9583907 w 9740963"/>
              <a:gd name="connsiteY373" fmla="*/ 1343200 h 6858000"/>
              <a:gd name="connsiteX374" fmla="*/ 9565421 w 9740963"/>
              <a:gd name="connsiteY374" fmla="*/ 1343200 h 6858000"/>
              <a:gd name="connsiteX375" fmla="*/ 9521653 w 9740963"/>
              <a:gd name="connsiteY375" fmla="*/ 1334363 h 6858000"/>
              <a:gd name="connsiteX376" fmla="*/ 9438473 w 9740963"/>
              <a:gd name="connsiteY376" fmla="*/ 1208876 h 6858000"/>
              <a:gd name="connsiteX377" fmla="*/ 9449177 w 9740963"/>
              <a:gd name="connsiteY377" fmla="*/ 1155864 h 6858000"/>
              <a:gd name="connsiteX378" fmla="*/ 9470329 w 9740963"/>
              <a:gd name="connsiteY378" fmla="*/ 1124490 h 6858000"/>
              <a:gd name="connsiteX379" fmla="*/ 9490279 w 9740963"/>
              <a:gd name="connsiteY379" fmla="*/ 1104541 h 6858000"/>
              <a:gd name="connsiteX380" fmla="*/ 9490281 w 9740963"/>
              <a:gd name="connsiteY380" fmla="*/ 1104539 h 6858000"/>
              <a:gd name="connsiteX381" fmla="*/ 8878787 w 9740963"/>
              <a:gd name="connsiteY381" fmla="*/ 0 h 6858000"/>
              <a:gd name="connsiteX382" fmla="*/ 9740963 w 9740963"/>
              <a:gd name="connsiteY382" fmla="*/ 0 h 6858000"/>
              <a:gd name="connsiteX383" fmla="*/ 9740963 w 9740963"/>
              <a:gd name="connsiteY383" fmla="*/ 671317 h 6858000"/>
              <a:gd name="connsiteX384" fmla="*/ 9104189 w 9740963"/>
              <a:gd name="connsiteY384" fmla="*/ 1308091 h 6858000"/>
              <a:gd name="connsiteX385" fmla="*/ 9067989 w 9740963"/>
              <a:gd name="connsiteY385" fmla="*/ 1332498 h 6858000"/>
              <a:gd name="connsiteX386" fmla="*/ 9014977 w 9740963"/>
              <a:gd name="connsiteY386" fmla="*/ 1343201 h 6858000"/>
              <a:gd name="connsiteX387" fmla="*/ 8878787 w 9740963"/>
              <a:gd name="connsiteY387" fmla="*/ 1207011 h 6858000"/>
              <a:gd name="connsiteX388" fmla="*/ 8878787 w 9740963"/>
              <a:gd name="connsiteY388" fmla="*/ 1207009 h 6858000"/>
              <a:gd name="connsiteX389" fmla="*/ 7218138 w 9740963"/>
              <a:gd name="connsiteY389" fmla="*/ 0 h 6858000"/>
              <a:gd name="connsiteX390" fmla="*/ 8751631 w 9740963"/>
              <a:gd name="connsiteY390" fmla="*/ 0 h 6858000"/>
              <a:gd name="connsiteX391" fmla="*/ 8751631 w 9740963"/>
              <a:gd name="connsiteY391" fmla="*/ 1207009 h 6858000"/>
              <a:gd name="connsiteX392" fmla="*/ 8751631 w 9740963"/>
              <a:gd name="connsiteY392" fmla="*/ 1207011 h 6858000"/>
              <a:gd name="connsiteX393" fmla="*/ 8615441 w 9740963"/>
              <a:gd name="connsiteY393" fmla="*/ 1343201 h 6858000"/>
              <a:gd name="connsiteX394" fmla="*/ 8562429 w 9740963"/>
              <a:gd name="connsiteY394" fmla="*/ 1332498 h 6858000"/>
              <a:gd name="connsiteX395" fmla="*/ 8526229 w 9740963"/>
              <a:gd name="connsiteY395" fmla="*/ 1308091 h 6858000"/>
              <a:gd name="connsiteX396" fmla="*/ 6334079 w 9740963"/>
              <a:gd name="connsiteY396" fmla="*/ 0 h 6858000"/>
              <a:gd name="connsiteX397" fmla="*/ 7035598 w 9740963"/>
              <a:gd name="connsiteY397" fmla="*/ 0 h 6858000"/>
              <a:gd name="connsiteX398" fmla="*/ 8140137 w 9740963"/>
              <a:gd name="connsiteY398" fmla="*/ 1104539 h 6858000"/>
              <a:gd name="connsiteX399" fmla="*/ 8140139 w 9740963"/>
              <a:gd name="connsiteY399" fmla="*/ 1104541 h 6858000"/>
              <a:gd name="connsiteX400" fmla="*/ 8160089 w 9740963"/>
              <a:gd name="connsiteY400" fmla="*/ 1124490 h 6858000"/>
              <a:gd name="connsiteX401" fmla="*/ 8181241 w 9740963"/>
              <a:gd name="connsiteY401" fmla="*/ 1155864 h 6858000"/>
              <a:gd name="connsiteX402" fmla="*/ 8191945 w 9740963"/>
              <a:gd name="connsiteY402" fmla="*/ 1208876 h 6858000"/>
              <a:gd name="connsiteX403" fmla="*/ 8108765 w 9740963"/>
              <a:gd name="connsiteY403" fmla="*/ 1334363 h 6858000"/>
              <a:gd name="connsiteX404" fmla="*/ 8064997 w 9740963"/>
              <a:gd name="connsiteY404" fmla="*/ 1343200 h 6858000"/>
              <a:gd name="connsiteX405" fmla="*/ 8046511 w 9740963"/>
              <a:gd name="connsiteY405" fmla="*/ 1343200 h 6858000"/>
              <a:gd name="connsiteX406" fmla="*/ 8046511 w 9740963"/>
              <a:gd name="connsiteY406" fmla="*/ 1343201 h 6858000"/>
              <a:gd name="connsiteX407" fmla="*/ 6477647 w 9740963"/>
              <a:gd name="connsiteY407" fmla="*/ 1343201 h 6858000"/>
              <a:gd name="connsiteX408" fmla="*/ 6459161 w 9740963"/>
              <a:gd name="connsiteY408" fmla="*/ 1343200 h 6858000"/>
              <a:gd name="connsiteX409" fmla="*/ 6415393 w 9740963"/>
              <a:gd name="connsiteY409" fmla="*/ 1334363 h 6858000"/>
              <a:gd name="connsiteX410" fmla="*/ 6342917 w 9740963"/>
              <a:gd name="connsiteY410" fmla="*/ 1261887 h 6858000"/>
              <a:gd name="connsiteX411" fmla="*/ 6334079 w 9740963"/>
              <a:gd name="connsiteY411" fmla="*/ 1218115 h 6858000"/>
              <a:gd name="connsiteX412" fmla="*/ 6334079 w 9740963"/>
              <a:gd name="connsiteY412" fmla="*/ 1199637 h 6858000"/>
              <a:gd name="connsiteX413" fmla="*/ 6334079 w 9740963"/>
              <a:gd name="connsiteY413" fmla="*/ 1199636 h 6858000"/>
              <a:gd name="connsiteX414" fmla="*/ 5505405 w 9740963"/>
              <a:gd name="connsiteY414" fmla="*/ 0 h 6858000"/>
              <a:gd name="connsiteX415" fmla="*/ 6206923 w 9740963"/>
              <a:gd name="connsiteY415" fmla="*/ 0 h 6858000"/>
              <a:gd name="connsiteX416" fmla="*/ 6206923 w 9740963"/>
              <a:gd name="connsiteY416" fmla="*/ 1199636 h 6858000"/>
              <a:gd name="connsiteX417" fmla="*/ 6206923 w 9740963"/>
              <a:gd name="connsiteY417" fmla="*/ 1199637 h 6858000"/>
              <a:gd name="connsiteX418" fmla="*/ 6206923 w 9740963"/>
              <a:gd name="connsiteY418" fmla="*/ 1218115 h 6858000"/>
              <a:gd name="connsiteX419" fmla="*/ 6198085 w 9740963"/>
              <a:gd name="connsiteY419" fmla="*/ 1261887 h 6858000"/>
              <a:gd name="connsiteX420" fmla="*/ 6125609 w 9740963"/>
              <a:gd name="connsiteY420" fmla="*/ 1334363 h 6858000"/>
              <a:gd name="connsiteX421" fmla="*/ 6081841 w 9740963"/>
              <a:gd name="connsiteY421" fmla="*/ 1343200 h 6858000"/>
              <a:gd name="connsiteX422" fmla="*/ 6063355 w 9740963"/>
              <a:gd name="connsiteY422" fmla="*/ 1343201 h 6858000"/>
              <a:gd name="connsiteX423" fmla="*/ 4494493 w 9740963"/>
              <a:gd name="connsiteY423" fmla="*/ 1343201 h 6858000"/>
              <a:gd name="connsiteX424" fmla="*/ 4494493 w 9740963"/>
              <a:gd name="connsiteY424" fmla="*/ 1343200 h 6858000"/>
              <a:gd name="connsiteX425" fmla="*/ 4476006 w 9740963"/>
              <a:gd name="connsiteY425" fmla="*/ 1343200 h 6858000"/>
              <a:gd name="connsiteX426" fmla="*/ 4432239 w 9740963"/>
              <a:gd name="connsiteY426" fmla="*/ 1334363 h 6858000"/>
              <a:gd name="connsiteX427" fmla="*/ 4349060 w 9740963"/>
              <a:gd name="connsiteY427" fmla="*/ 1208876 h 6858000"/>
              <a:gd name="connsiteX428" fmla="*/ 4359762 w 9740963"/>
              <a:gd name="connsiteY428" fmla="*/ 1155864 h 6858000"/>
              <a:gd name="connsiteX429" fmla="*/ 4380915 w 9740963"/>
              <a:gd name="connsiteY429" fmla="*/ 1124490 h 6858000"/>
              <a:gd name="connsiteX430" fmla="*/ 4400865 w 9740963"/>
              <a:gd name="connsiteY430" fmla="*/ 1104541 h 6858000"/>
              <a:gd name="connsiteX431" fmla="*/ 4400867 w 9740963"/>
              <a:gd name="connsiteY431" fmla="*/ 1104539 h 6858000"/>
              <a:gd name="connsiteX432" fmla="*/ 3789372 w 9740963"/>
              <a:gd name="connsiteY432" fmla="*/ 0 h 6858000"/>
              <a:gd name="connsiteX433" fmla="*/ 5322865 w 9740963"/>
              <a:gd name="connsiteY433" fmla="*/ 0 h 6858000"/>
              <a:gd name="connsiteX434" fmla="*/ 4014775 w 9740963"/>
              <a:gd name="connsiteY434" fmla="*/ 1308091 h 6858000"/>
              <a:gd name="connsiteX435" fmla="*/ 3978576 w 9740963"/>
              <a:gd name="connsiteY435" fmla="*/ 1332498 h 6858000"/>
              <a:gd name="connsiteX436" fmla="*/ 3925564 w 9740963"/>
              <a:gd name="connsiteY436" fmla="*/ 1343201 h 6858000"/>
              <a:gd name="connsiteX437" fmla="*/ 3789372 w 9740963"/>
              <a:gd name="connsiteY437" fmla="*/ 1207011 h 6858000"/>
              <a:gd name="connsiteX438" fmla="*/ 3789372 w 9740963"/>
              <a:gd name="connsiteY438" fmla="*/ 1207009 h 6858000"/>
              <a:gd name="connsiteX439" fmla="*/ 2128722 w 9740963"/>
              <a:gd name="connsiteY439" fmla="*/ 0 h 6858000"/>
              <a:gd name="connsiteX440" fmla="*/ 3662218 w 9740963"/>
              <a:gd name="connsiteY440" fmla="*/ 0 h 6858000"/>
              <a:gd name="connsiteX441" fmla="*/ 3662218 w 9740963"/>
              <a:gd name="connsiteY441" fmla="*/ 1207009 h 6858000"/>
              <a:gd name="connsiteX442" fmla="*/ 3662218 w 9740963"/>
              <a:gd name="connsiteY442" fmla="*/ 1207011 h 6858000"/>
              <a:gd name="connsiteX443" fmla="*/ 3526026 w 9740963"/>
              <a:gd name="connsiteY443" fmla="*/ 1343201 h 6858000"/>
              <a:gd name="connsiteX444" fmla="*/ 3473015 w 9740963"/>
              <a:gd name="connsiteY444" fmla="*/ 1332498 h 6858000"/>
              <a:gd name="connsiteX445" fmla="*/ 3436814 w 9740963"/>
              <a:gd name="connsiteY445" fmla="*/ 1308091 h 6858000"/>
              <a:gd name="connsiteX446" fmla="*/ 1244667 w 9740963"/>
              <a:gd name="connsiteY446" fmla="*/ 0 h 6858000"/>
              <a:gd name="connsiteX447" fmla="*/ 1946188 w 9740963"/>
              <a:gd name="connsiteY447" fmla="*/ 0 h 6858000"/>
              <a:gd name="connsiteX448" fmla="*/ 3050724 w 9740963"/>
              <a:gd name="connsiteY448" fmla="*/ 1104539 h 6858000"/>
              <a:gd name="connsiteX449" fmla="*/ 3050726 w 9740963"/>
              <a:gd name="connsiteY449" fmla="*/ 1104541 h 6858000"/>
              <a:gd name="connsiteX450" fmla="*/ 3070675 w 9740963"/>
              <a:gd name="connsiteY450" fmla="*/ 1124490 h 6858000"/>
              <a:gd name="connsiteX451" fmla="*/ 3091828 w 9740963"/>
              <a:gd name="connsiteY451" fmla="*/ 1155864 h 6858000"/>
              <a:gd name="connsiteX452" fmla="*/ 3102530 w 9740963"/>
              <a:gd name="connsiteY452" fmla="*/ 1208876 h 6858000"/>
              <a:gd name="connsiteX453" fmla="*/ 3019351 w 9740963"/>
              <a:gd name="connsiteY453" fmla="*/ 1334363 h 6858000"/>
              <a:gd name="connsiteX454" fmla="*/ 2975584 w 9740963"/>
              <a:gd name="connsiteY454" fmla="*/ 1343200 h 6858000"/>
              <a:gd name="connsiteX455" fmla="*/ 2957097 w 9740963"/>
              <a:gd name="connsiteY455" fmla="*/ 1343200 h 6858000"/>
              <a:gd name="connsiteX456" fmla="*/ 2957097 w 9740963"/>
              <a:gd name="connsiteY456" fmla="*/ 1343201 h 6858000"/>
              <a:gd name="connsiteX457" fmla="*/ 1388238 w 9740963"/>
              <a:gd name="connsiteY457" fmla="*/ 1343201 h 6858000"/>
              <a:gd name="connsiteX458" fmla="*/ 1369751 w 9740963"/>
              <a:gd name="connsiteY458" fmla="*/ 1343200 h 6858000"/>
              <a:gd name="connsiteX459" fmla="*/ 1325983 w 9740963"/>
              <a:gd name="connsiteY459" fmla="*/ 1334363 h 6858000"/>
              <a:gd name="connsiteX460" fmla="*/ 1253507 w 9740963"/>
              <a:gd name="connsiteY460" fmla="*/ 1261887 h 6858000"/>
              <a:gd name="connsiteX461" fmla="*/ 1244670 w 9740963"/>
              <a:gd name="connsiteY461" fmla="*/ 1218115 h 6858000"/>
              <a:gd name="connsiteX462" fmla="*/ 1244670 w 9740963"/>
              <a:gd name="connsiteY462" fmla="*/ 1199636 h 6858000"/>
              <a:gd name="connsiteX463" fmla="*/ 1244667 w 9740963"/>
              <a:gd name="connsiteY463" fmla="*/ 1199637 h 6858000"/>
              <a:gd name="connsiteX464" fmla="*/ 13126 w 9740963"/>
              <a:gd name="connsiteY464" fmla="*/ 0 h 6858000"/>
              <a:gd name="connsiteX465" fmla="*/ 1128917 w 9740963"/>
              <a:gd name="connsiteY465" fmla="*/ 0 h 6858000"/>
              <a:gd name="connsiteX466" fmla="*/ 1128917 w 9740963"/>
              <a:gd name="connsiteY466" fmla="*/ 783502 h 6858000"/>
              <a:gd name="connsiteX467" fmla="*/ 1128917 w 9740963"/>
              <a:gd name="connsiteY467" fmla="*/ 801988 h 6858000"/>
              <a:gd name="connsiteX468" fmla="*/ 1120079 w 9740963"/>
              <a:gd name="connsiteY468" fmla="*/ 845757 h 6858000"/>
              <a:gd name="connsiteX469" fmla="*/ 994592 w 9740963"/>
              <a:gd name="connsiteY469" fmla="*/ 928936 h 6858000"/>
              <a:gd name="connsiteX470" fmla="*/ 941580 w 9740963"/>
              <a:gd name="connsiteY470" fmla="*/ 918233 h 6858000"/>
              <a:gd name="connsiteX471" fmla="*/ 910206 w 9740963"/>
              <a:gd name="connsiteY471" fmla="*/ 897080 h 6858000"/>
              <a:gd name="connsiteX472" fmla="*/ 890257 w 9740963"/>
              <a:gd name="connsiteY472" fmla="*/ 877131 h 6858000"/>
              <a:gd name="connsiteX473" fmla="*/ 890255 w 9740963"/>
              <a:gd name="connsiteY473" fmla="*/ 87712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Lst>
            <a:rect l="l" t="t" r="r" b="b"/>
            <a:pathLst>
              <a:path w="9740963" h="6858000">
                <a:moveTo>
                  <a:pt x="981316" y="5930787"/>
                </a:moveTo>
                <a:cubicBezTo>
                  <a:pt x="1056532" y="5930787"/>
                  <a:pt x="1117507" y="5991762"/>
                  <a:pt x="1117507" y="6066978"/>
                </a:cubicBezTo>
                <a:lnTo>
                  <a:pt x="1117507" y="6066979"/>
                </a:lnTo>
                <a:lnTo>
                  <a:pt x="1117507" y="6858000"/>
                </a:lnTo>
                <a:lnTo>
                  <a:pt x="0" y="6858000"/>
                </a:lnTo>
                <a:lnTo>
                  <a:pt x="892104" y="5965897"/>
                </a:lnTo>
                <a:lnTo>
                  <a:pt x="928305" y="5941490"/>
                </a:lnTo>
                <a:cubicBezTo>
                  <a:pt x="944598" y="5934598"/>
                  <a:pt x="962512" y="5930787"/>
                  <a:pt x="981316" y="5930787"/>
                </a:cubicBezTo>
                <a:close/>
                <a:moveTo>
                  <a:pt x="9583907" y="5514803"/>
                </a:moveTo>
                <a:lnTo>
                  <a:pt x="9740963" y="5514803"/>
                </a:lnTo>
                <a:lnTo>
                  <a:pt x="9740963" y="6004147"/>
                </a:lnTo>
                <a:lnTo>
                  <a:pt x="9490281" y="5753466"/>
                </a:lnTo>
                <a:cubicBezTo>
                  <a:pt x="9490281" y="5753465"/>
                  <a:pt x="9490279" y="5753465"/>
                  <a:pt x="9490279" y="5753464"/>
                </a:cubicBezTo>
                <a:lnTo>
                  <a:pt x="9470329" y="5733515"/>
                </a:lnTo>
                <a:lnTo>
                  <a:pt x="9449177" y="5702140"/>
                </a:lnTo>
                <a:cubicBezTo>
                  <a:pt x="9442285" y="5685846"/>
                  <a:pt x="9438473" y="5667933"/>
                  <a:pt x="9438473" y="5649129"/>
                </a:cubicBezTo>
                <a:cubicBezTo>
                  <a:pt x="9438473" y="5592716"/>
                  <a:pt x="9472773" y="5544315"/>
                  <a:pt x="9521653" y="5523641"/>
                </a:cubicBezTo>
                <a:lnTo>
                  <a:pt x="9565421" y="5514804"/>
                </a:lnTo>
                <a:lnTo>
                  <a:pt x="9583907" y="5514804"/>
                </a:lnTo>
                <a:close/>
                <a:moveTo>
                  <a:pt x="9014977" y="5514803"/>
                </a:moveTo>
                <a:cubicBezTo>
                  <a:pt x="9033781" y="5514803"/>
                  <a:pt x="9051695" y="5518614"/>
                  <a:pt x="9067989" y="5525506"/>
                </a:cubicBezTo>
                <a:lnTo>
                  <a:pt x="9104189" y="5549913"/>
                </a:lnTo>
                <a:lnTo>
                  <a:pt x="9740963" y="6186687"/>
                </a:lnTo>
                <a:lnTo>
                  <a:pt x="9740963" y="6858000"/>
                </a:lnTo>
                <a:lnTo>
                  <a:pt x="8878787" y="6858000"/>
                </a:lnTo>
                <a:lnTo>
                  <a:pt x="8878787" y="5650995"/>
                </a:lnTo>
                <a:lnTo>
                  <a:pt x="8878787" y="5650994"/>
                </a:lnTo>
                <a:cubicBezTo>
                  <a:pt x="8878787" y="5575778"/>
                  <a:pt x="8939761" y="5514803"/>
                  <a:pt x="9014977" y="5514803"/>
                </a:cubicBezTo>
                <a:close/>
                <a:moveTo>
                  <a:pt x="8615441" y="5514803"/>
                </a:moveTo>
                <a:cubicBezTo>
                  <a:pt x="8690657" y="5514803"/>
                  <a:pt x="8751631" y="5575778"/>
                  <a:pt x="8751631" y="5650994"/>
                </a:cubicBezTo>
                <a:lnTo>
                  <a:pt x="8751631" y="5650995"/>
                </a:lnTo>
                <a:lnTo>
                  <a:pt x="8751631" y="6858000"/>
                </a:lnTo>
                <a:lnTo>
                  <a:pt x="7218142" y="6858000"/>
                </a:lnTo>
                <a:lnTo>
                  <a:pt x="8526229" y="5549913"/>
                </a:lnTo>
                <a:lnTo>
                  <a:pt x="8562429" y="5525506"/>
                </a:lnTo>
                <a:cubicBezTo>
                  <a:pt x="8578723" y="5518614"/>
                  <a:pt x="8596637" y="5514803"/>
                  <a:pt x="8615441" y="5514803"/>
                </a:cubicBezTo>
                <a:close/>
                <a:moveTo>
                  <a:pt x="6477647" y="5514803"/>
                </a:moveTo>
                <a:lnTo>
                  <a:pt x="8046511" y="5514803"/>
                </a:lnTo>
                <a:lnTo>
                  <a:pt x="8046511" y="5514804"/>
                </a:lnTo>
                <a:lnTo>
                  <a:pt x="8064997" y="5514804"/>
                </a:lnTo>
                <a:lnTo>
                  <a:pt x="8108765" y="5523641"/>
                </a:lnTo>
                <a:cubicBezTo>
                  <a:pt x="8157647" y="5544315"/>
                  <a:pt x="8191945" y="5592716"/>
                  <a:pt x="8191945" y="5649129"/>
                </a:cubicBezTo>
                <a:cubicBezTo>
                  <a:pt x="8191945" y="5667933"/>
                  <a:pt x="8188133" y="5685846"/>
                  <a:pt x="8181241" y="5702140"/>
                </a:cubicBezTo>
                <a:lnTo>
                  <a:pt x="8160089" y="5733515"/>
                </a:lnTo>
                <a:lnTo>
                  <a:pt x="8140139" y="5753464"/>
                </a:lnTo>
                <a:cubicBezTo>
                  <a:pt x="8140139" y="5753465"/>
                  <a:pt x="8140139" y="5753465"/>
                  <a:pt x="8140137" y="5753466"/>
                </a:cubicBezTo>
                <a:lnTo>
                  <a:pt x="7035602" y="6858000"/>
                </a:lnTo>
                <a:lnTo>
                  <a:pt x="6334079" y="6858000"/>
                </a:lnTo>
                <a:lnTo>
                  <a:pt x="6334079" y="5658368"/>
                </a:lnTo>
                <a:lnTo>
                  <a:pt x="6334079" y="5658367"/>
                </a:lnTo>
                <a:lnTo>
                  <a:pt x="6334079" y="5639889"/>
                </a:lnTo>
                <a:lnTo>
                  <a:pt x="6342917" y="5596117"/>
                </a:lnTo>
                <a:cubicBezTo>
                  <a:pt x="6356699" y="5563529"/>
                  <a:pt x="6382805" y="5537423"/>
                  <a:pt x="6415393" y="5523641"/>
                </a:cubicBezTo>
                <a:lnTo>
                  <a:pt x="6459161" y="5514804"/>
                </a:lnTo>
                <a:close/>
                <a:moveTo>
                  <a:pt x="4494492" y="5514803"/>
                </a:moveTo>
                <a:lnTo>
                  <a:pt x="6063355" y="5514803"/>
                </a:lnTo>
                <a:lnTo>
                  <a:pt x="6081841" y="5514804"/>
                </a:lnTo>
                <a:lnTo>
                  <a:pt x="6125609" y="5523641"/>
                </a:lnTo>
                <a:cubicBezTo>
                  <a:pt x="6158197" y="5537423"/>
                  <a:pt x="6184303" y="5563529"/>
                  <a:pt x="6198085" y="5596117"/>
                </a:cubicBezTo>
                <a:lnTo>
                  <a:pt x="6206923" y="5639889"/>
                </a:lnTo>
                <a:lnTo>
                  <a:pt x="6206923" y="5658367"/>
                </a:lnTo>
                <a:lnTo>
                  <a:pt x="6206923" y="5658368"/>
                </a:lnTo>
                <a:lnTo>
                  <a:pt x="6206923" y="6858000"/>
                </a:lnTo>
                <a:lnTo>
                  <a:pt x="5505401" y="6858000"/>
                </a:lnTo>
                <a:lnTo>
                  <a:pt x="4400866" y="5753466"/>
                </a:lnTo>
                <a:cubicBezTo>
                  <a:pt x="4400864" y="5753465"/>
                  <a:pt x="4400864" y="5753465"/>
                  <a:pt x="4400863" y="5753464"/>
                </a:cubicBezTo>
                <a:lnTo>
                  <a:pt x="4380913" y="5733515"/>
                </a:lnTo>
                <a:lnTo>
                  <a:pt x="4359762" y="5702140"/>
                </a:lnTo>
                <a:cubicBezTo>
                  <a:pt x="4352869" y="5685846"/>
                  <a:pt x="4349058" y="5667933"/>
                  <a:pt x="4349058" y="5649129"/>
                </a:cubicBezTo>
                <a:cubicBezTo>
                  <a:pt x="4349058" y="5592716"/>
                  <a:pt x="4383357" y="5544315"/>
                  <a:pt x="4432238" y="5523641"/>
                </a:cubicBezTo>
                <a:lnTo>
                  <a:pt x="4476005" y="5514804"/>
                </a:lnTo>
                <a:lnTo>
                  <a:pt x="4494492" y="5514804"/>
                </a:lnTo>
                <a:close/>
                <a:moveTo>
                  <a:pt x="3925562" y="5514803"/>
                </a:moveTo>
                <a:cubicBezTo>
                  <a:pt x="3944366" y="5514803"/>
                  <a:pt x="3962279" y="5518614"/>
                  <a:pt x="3978574" y="5525506"/>
                </a:cubicBezTo>
                <a:lnTo>
                  <a:pt x="4014774" y="5549913"/>
                </a:lnTo>
                <a:lnTo>
                  <a:pt x="5322861" y="6858000"/>
                </a:lnTo>
                <a:lnTo>
                  <a:pt x="3789371" y="6858000"/>
                </a:lnTo>
                <a:lnTo>
                  <a:pt x="3789371" y="5650995"/>
                </a:lnTo>
                <a:lnTo>
                  <a:pt x="3789371" y="5650994"/>
                </a:lnTo>
                <a:cubicBezTo>
                  <a:pt x="3789371" y="5575778"/>
                  <a:pt x="3850345" y="5514803"/>
                  <a:pt x="3925562" y="5514803"/>
                </a:cubicBezTo>
                <a:close/>
                <a:moveTo>
                  <a:pt x="3526025" y="5514803"/>
                </a:moveTo>
                <a:cubicBezTo>
                  <a:pt x="3601241" y="5514803"/>
                  <a:pt x="3662216" y="5575778"/>
                  <a:pt x="3662216" y="5650994"/>
                </a:cubicBezTo>
                <a:lnTo>
                  <a:pt x="3662216" y="5650995"/>
                </a:lnTo>
                <a:lnTo>
                  <a:pt x="3662216" y="6858000"/>
                </a:lnTo>
                <a:lnTo>
                  <a:pt x="2128725" y="6858000"/>
                </a:lnTo>
                <a:lnTo>
                  <a:pt x="3436813" y="5549913"/>
                </a:lnTo>
                <a:lnTo>
                  <a:pt x="3473013" y="5525506"/>
                </a:lnTo>
                <a:cubicBezTo>
                  <a:pt x="3489307" y="5518614"/>
                  <a:pt x="3507221" y="5514803"/>
                  <a:pt x="3526025" y="5514803"/>
                </a:cubicBezTo>
                <a:close/>
                <a:moveTo>
                  <a:pt x="1388232" y="5514803"/>
                </a:moveTo>
                <a:lnTo>
                  <a:pt x="2957095" y="5514803"/>
                </a:lnTo>
                <a:lnTo>
                  <a:pt x="2957095" y="5514804"/>
                </a:lnTo>
                <a:lnTo>
                  <a:pt x="2975581" y="5514804"/>
                </a:lnTo>
                <a:lnTo>
                  <a:pt x="3019349" y="5523641"/>
                </a:lnTo>
                <a:cubicBezTo>
                  <a:pt x="3068230" y="5544315"/>
                  <a:pt x="3102529" y="5592716"/>
                  <a:pt x="3102529" y="5649129"/>
                </a:cubicBezTo>
                <a:cubicBezTo>
                  <a:pt x="3102529" y="5667933"/>
                  <a:pt x="3098718" y="5685846"/>
                  <a:pt x="3091826" y="5702140"/>
                </a:cubicBezTo>
                <a:lnTo>
                  <a:pt x="3070674" y="5733515"/>
                </a:lnTo>
                <a:lnTo>
                  <a:pt x="3050724" y="5753464"/>
                </a:lnTo>
                <a:cubicBezTo>
                  <a:pt x="3050723" y="5753465"/>
                  <a:pt x="3050722" y="5753465"/>
                  <a:pt x="3050722" y="5753466"/>
                </a:cubicBezTo>
                <a:lnTo>
                  <a:pt x="1946187" y="6858000"/>
                </a:lnTo>
                <a:lnTo>
                  <a:pt x="1244663" y="6858000"/>
                </a:lnTo>
                <a:lnTo>
                  <a:pt x="1244663" y="5658367"/>
                </a:lnTo>
                <a:lnTo>
                  <a:pt x="1244664" y="5658368"/>
                </a:lnTo>
                <a:lnTo>
                  <a:pt x="1244664" y="5639889"/>
                </a:lnTo>
                <a:lnTo>
                  <a:pt x="1253501" y="5596117"/>
                </a:lnTo>
                <a:cubicBezTo>
                  <a:pt x="1267285" y="5563529"/>
                  <a:pt x="1293391" y="5537423"/>
                  <a:pt x="1325978" y="5523641"/>
                </a:cubicBezTo>
                <a:lnTo>
                  <a:pt x="1369746" y="5514804"/>
                </a:lnTo>
                <a:close/>
                <a:moveTo>
                  <a:pt x="9583907" y="3506125"/>
                </a:moveTo>
                <a:lnTo>
                  <a:pt x="9740963" y="3506125"/>
                </a:lnTo>
                <a:lnTo>
                  <a:pt x="9740963" y="3995469"/>
                </a:lnTo>
                <a:lnTo>
                  <a:pt x="9490281" y="3744788"/>
                </a:lnTo>
                <a:cubicBezTo>
                  <a:pt x="9490281" y="3744787"/>
                  <a:pt x="9490279" y="3744787"/>
                  <a:pt x="9490279" y="3744786"/>
                </a:cubicBezTo>
                <a:lnTo>
                  <a:pt x="9470329" y="3724837"/>
                </a:lnTo>
                <a:lnTo>
                  <a:pt x="9449177" y="3693462"/>
                </a:lnTo>
                <a:cubicBezTo>
                  <a:pt x="9442285" y="3677168"/>
                  <a:pt x="9438473" y="3659255"/>
                  <a:pt x="9438473" y="3640451"/>
                </a:cubicBezTo>
                <a:cubicBezTo>
                  <a:pt x="9438473" y="3584038"/>
                  <a:pt x="9472773" y="3535637"/>
                  <a:pt x="9521653" y="3514963"/>
                </a:cubicBezTo>
                <a:lnTo>
                  <a:pt x="9565421" y="3506126"/>
                </a:lnTo>
                <a:lnTo>
                  <a:pt x="9583907" y="3506126"/>
                </a:lnTo>
                <a:close/>
                <a:moveTo>
                  <a:pt x="9014977" y="3506125"/>
                </a:moveTo>
                <a:cubicBezTo>
                  <a:pt x="9033781" y="3506125"/>
                  <a:pt x="9051695" y="3509936"/>
                  <a:pt x="9067989" y="3516828"/>
                </a:cubicBezTo>
                <a:lnTo>
                  <a:pt x="9104189" y="3541235"/>
                </a:lnTo>
                <a:lnTo>
                  <a:pt x="9740963" y="4178008"/>
                </a:lnTo>
                <a:lnTo>
                  <a:pt x="9740963" y="5360553"/>
                </a:lnTo>
                <a:lnTo>
                  <a:pt x="9022355" y="5360553"/>
                </a:lnTo>
                <a:lnTo>
                  <a:pt x="9003869" y="5360552"/>
                </a:lnTo>
                <a:lnTo>
                  <a:pt x="8960101" y="5351716"/>
                </a:lnTo>
                <a:cubicBezTo>
                  <a:pt x="8927513" y="5337933"/>
                  <a:pt x="8901407" y="5311827"/>
                  <a:pt x="8887625" y="5279239"/>
                </a:cubicBezTo>
                <a:lnTo>
                  <a:pt x="8878787" y="5235467"/>
                </a:lnTo>
                <a:lnTo>
                  <a:pt x="8878787" y="5216989"/>
                </a:lnTo>
                <a:lnTo>
                  <a:pt x="8878787" y="5216988"/>
                </a:lnTo>
                <a:lnTo>
                  <a:pt x="8878787" y="3642317"/>
                </a:lnTo>
                <a:lnTo>
                  <a:pt x="8878787" y="3642316"/>
                </a:lnTo>
                <a:cubicBezTo>
                  <a:pt x="8878787" y="3567100"/>
                  <a:pt x="8939761" y="3506125"/>
                  <a:pt x="9014977" y="3506125"/>
                </a:cubicBezTo>
                <a:close/>
                <a:moveTo>
                  <a:pt x="8615441" y="3506125"/>
                </a:moveTo>
                <a:cubicBezTo>
                  <a:pt x="8690657" y="3506125"/>
                  <a:pt x="8751631" y="3567100"/>
                  <a:pt x="8751631" y="3642316"/>
                </a:cubicBezTo>
                <a:lnTo>
                  <a:pt x="8751631" y="3642317"/>
                </a:lnTo>
                <a:lnTo>
                  <a:pt x="8751631" y="5216988"/>
                </a:lnTo>
                <a:lnTo>
                  <a:pt x="8751631" y="5216989"/>
                </a:lnTo>
                <a:lnTo>
                  <a:pt x="8751631" y="5235467"/>
                </a:lnTo>
                <a:lnTo>
                  <a:pt x="8742793" y="5279239"/>
                </a:lnTo>
                <a:cubicBezTo>
                  <a:pt x="8729011" y="5311827"/>
                  <a:pt x="8702905" y="5337933"/>
                  <a:pt x="8670317" y="5351716"/>
                </a:cubicBezTo>
                <a:lnTo>
                  <a:pt x="8626549" y="5360552"/>
                </a:lnTo>
                <a:lnTo>
                  <a:pt x="8608063" y="5360553"/>
                </a:lnTo>
                <a:lnTo>
                  <a:pt x="7039199" y="5360553"/>
                </a:lnTo>
                <a:lnTo>
                  <a:pt x="7039199" y="5360552"/>
                </a:lnTo>
                <a:lnTo>
                  <a:pt x="7020713" y="5360552"/>
                </a:lnTo>
                <a:lnTo>
                  <a:pt x="6976945" y="5351716"/>
                </a:lnTo>
                <a:cubicBezTo>
                  <a:pt x="6928065" y="5331042"/>
                  <a:pt x="6893765" y="5282640"/>
                  <a:pt x="6893765" y="5226228"/>
                </a:cubicBezTo>
                <a:cubicBezTo>
                  <a:pt x="6893765" y="5207424"/>
                  <a:pt x="6897577" y="5189510"/>
                  <a:pt x="6904469" y="5173216"/>
                </a:cubicBezTo>
                <a:lnTo>
                  <a:pt x="6925621" y="5141842"/>
                </a:lnTo>
                <a:lnTo>
                  <a:pt x="6945571" y="5121892"/>
                </a:lnTo>
                <a:cubicBezTo>
                  <a:pt x="6945571" y="5121892"/>
                  <a:pt x="6945573" y="5121892"/>
                  <a:pt x="6945573" y="5121891"/>
                </a:cubicBezTo>
                <a:lnTo>
                  <a:pt x="8526229" y="3541235"/>
                </a:lnTo>
                <a:lnTo>
                  <a:pt x="8562429" y="3516828"/>
                </a:lnTo>
                <a:cubicBezTo>
                  <a:pt x="8578723" y="3509936"/>
                  <a:pt x="8596637" y="3506125"/>
                  <a:pt x="8615441" y="3506125"/>
                </a:cubicBezTo>
                <a:close/>
                <a:moveTo>
                  <a:pt x="6477647" y="3506125"/>
                </a:moveTo>
                <a:lnTo>
                  <a:pt x="8046511" y="3506125"/>
                </a:lnTo>
                <a:lnTo>
                  <a:pt x="8046511" y="3506126"/>
                </a:lnTo>
                <a:lnTo>
                  <a:pt x="8064997" y="3506126"/>
                </a:lnTo>
                <a:lnTo>
                  <a:pt x="8108765" y="3514963"/>
                </a:lnTo>
                <a:cubicBezTo>
                  <a:pt x="8157647" y="3535637"/>
                  <a:pt x="8191945" y="3584038"/>
                  <a:pt x="8191945" y="3640451"/>
                </a:cubicBezTo>
                <a:cubicBezTo>
                  <a:pt x="8191945" y="3659255"/>
                  <a:pt x="8188133" y="3677168"/>
                  <a:pt x="8181241" y="3693462"/>
                </a:cubicBezTo>
                <a:lnTo>
                  <a:pt x="8160089" y="3724837"/>
                </a:lnTo>
                <a:lnTo>
                  <a:pt x="8140139" y="3744786"/>
                </a:lnTo>
                <a:cubicBezTo>
                  <a:pt x="8140139" y="3744787"/>
                  <a:pt x="8140139" y="3744787"/>
                  <a:pt x="8140137" y="3744788"/>
                </a:cubicBezTo>
                <a:lnTo>
                  <a:pt x="6559481" y="5325443"/>
                </a:lnTo>
                <a:lnTo>
                  <a:pt x="6523281" y="5349850"/>
                </a:lnTo>
                <a:cubicBezTo>
                  <a:pt x="6506987" y="5356742"/>
                  <a:pt x="6489073" y="5360553"/>
                  <a:pt x="6470269" y="5360553"/>
                </a:cubicBezTo>
                <a:cubicBezTo>
                  <a:pt x="6395053" y="5360553"/>
                  <a:pt x="6334079" y="5299579"/>
                  <a:pt x="6334079" y="5224362"/>
                </a:cubicBezTo>
                <a:lnTo>
                  <a:pt x="6334079" y="3649690"/>
                </a:lnTo>
                <a:lnTo>
                  <a:pt x="6334079" y="3649689"/>
                </a:lnTo>
                <a:lnTo>
                  <a:pt x="6334079" y="3631211"/>
                </a:lnTo>
                <a:lnTo>
                  <a:pt x="6342917" y="3587439"/>
                </a:lnTo>
                <a:cubicBezTo>
                  <a:pt x="6356699" y="3554851"/>
                  <a:pt x="6382805" y="3528745"/>
                  <a:pt x="6415393" y="3514963"/>
                </a:cubicBezTo>
                <a:lnTo>
                  <a:pt x="6459161" y="3506126"/>
                </a:lnTo>
                <a:close/>
                <a:moveTo>
                  <a:pt x="4494492" y="3506125"/>
                </a:moveTo>
                <a:lnTo>
                  <a:pt x="6063355" y="3506125"/>
                </a:lnTo>
                <a:lnTo>
                  <a:pt x="6081841" y="3506126"/>
                </a:lnTo>
                <a:lnTo>
                  <a:pt x="6125609" y="3514963"/>
                </a:lnTo>
                <a:cubicBezTo>
                  <a:pt x="6158197" y="3528745"/>
                  <a:pt x="6184303" y="3554851"/>
                  <a:pt x="6198085" y="3587439"/>
                </a:cubicBezTo>
                <a:lnTo>
                  <a:pt x="6206923" y="3631211"/>
                </a:lnTo>
                <a:lnTo>
                  <a:pt x="6206923" y="3649689"/>
                </a:lnTo>
                <a:lnTo>
                  <a:pt x="6206923" y="3649690"/>
                </a:lnTo>
                <a:lnTo>
                  <a:pt x="6206923" y="5224362"/>
                </a:lnTo>
                <a:cubicBezTo>
                  <a:pt x="6206923" y="5299579"/>
                  <a:pt x="6145949" y="5360553"/>
                  <a:pt x="6070733" y="5360553"/>
                </a:cubicBezTo>
                <a:cubicBezTo>
                  <a:pt x="6051929" y="5360553"/>
                  <a:pt x="6034015" y="5356742"/>
                  <a:pt x="6017721" y="5349850"/>
                </a:cubicBezTo>
                <a:lnTo>
                  <a:pt x="5981521" y="5325443"/>
                </a:lnTo>
                <a:lnTo>
                  <a:pt x="4400866" y="3744788"/>
                </a:lnTo>
                <a:cubicBezTo>
                  <a:pt x="4400864" y="3744787"/>
                  <a:pt x="4400864" y="3744787"/>
                  <a:pt x="4400864" y="3744786"/>
                </a:cubicBezTo>
                <a:lnTo>
                  <a:pt x="4380913" y="3724837"/>
                </a:lnTo>
                <a:lnTo>
                  <a:pt x="4359762" y="3693462"/>
                </a:lnTo>
                <a:cubicBezTo>
                  <a:pt x="4352870" y="3677168"/>
                  <a:pt x="4349058" y="3659255"/>
                  <a:pt x="4349058" y="3640451"/>
                </a:cubicBezTo>
                <a:cubicBezTo>
                  <a:pt x="4349058" y="3584038"/>
                  <a:pt x="4383357" y="3535637"/>
                  <a:pt x="4432239" y="3514963"/>
                </a:cubicBezTo>
                <a:lnTo>
                  <a:pt x="4476005" y="3506126"/>
                </a:lnTo>
                <a:lnTo>
                  <a:pt x="4494492" y="3506126"/>
                </a:lnTo>
                <a:close/>
                <a:moveTo>
                  <a:pt x="3925563" y="3506125"/>
                </a:moveTo>
                <a:cubicBezTo>
                  <a:pt x="3944366" y="3506125"/>
                  <a:pt x="3962280" y="3509936"/>
                  <a:pt x="3978574" y="3516828"/>
                </a:cubicBezTo>
                <a:lnTo>
                  <a:pt x="4014774" y="3541235"/>
                </a:lnTo>
                <a:lnTo>
                  <a:pt x="5595430" y="5121891"/>
                </a:lnTo>
                <a:cubicBezTo>
                  <a:pt x="5595430" y="5121892"/>
                  <a:pt x="5595431" y="5121892"/>
                  <a:pt x="5595432" y="5121892"/>
                </a:cubicBezTo>
                <a:lnTo>
                  <a:pt x="5615381" y="5141842"/>
                </a:lnTo>
                <a:lnTo>
                  <a:pt x="5636534" y="5173216"/>
                </a:lnTo>
                <a:cubicBezTo>
                  <a:pt x="5643426" y="5189510"/>
                  <a:pt x="5647237" y="5207424"/>
                  <a:pt x="5647237" y="5226228"/>
                </a:cubicBezTo>
                <a:cubicBezTo>
                  <a:pt x="5647237" y="5282640"/>
                  <a:pt x="5612938" y="5331042"/>
                  <a:pt x="5564057" y="5351716"/>
                </a:cubicBezTo>
                <a:lnTo>
                  <a:pt x="5520289" y="5360552"/>
                </a:lnTo>
                <a:lnTo>
                  <a:pt x="5501803" y="5360552"/>
                </a:lnTo>
                <a:lnTo>
                  <a:pt x="5501803" y="5360553"/>
                </a:lnTo>
                <a:lnTo>
                  <a:pt x="3932940" y="5360553"/>
                </a:lnTo>
                <a:lnTo>
                  <a:pt x="3914454" y="5360552"/>
                </a:lnTo>
                <a:lnTo>
                  <a:pt x="3870687" y="5351716"/>
                </a:lnTo>
                <a:cubicBezTo>
                  <a:pt x="3838098" y="5337933"/>
                  <a:pt x="3811993" y="5311827"/>
                  <a:pt x="3798210" y="5279239"/>
                </a:cubicBezTo>
                <a:lnTo>
                  <a:pt x="3789372" y="5235467"/>
                </a:lnTo>
                <a:lnTo>
                  <a:pt x="3789372" y="5216988"/>
                </a:lnTo>
                <a:lnTo>
                  <a:pt x="3789371" y="5216989"/>
                </a:lnTo>
                <a:lnTo>
                  <a:pt x="3789371" y="3642317"/>
                </a:lnTo>
                <a:lnTo>
                  <a:pt x="3789371" y="3642316"/>
                </a:lnTo>
                <a:cubicBezTo>
                  <a:pt x="3789371" y="3567100"/>
                  <a:pt x="3850346" y="3506125"/>
                  <a:pt x="3925563" y="3506125"/>
                </a:cubicBezTo>
                <a:close/>
                <a:moveTo>
                  <a:pt x="3526024" y="3506125"/>
                </a:moveTo>
                <a:cubicBezTo>
                  <a:pt x="3601241" y="3506125"/>
                  <a:pt x="3662215" y="3567100"/>
                  <a:pt x="3662215" y="3642316"/>
                </a:cubicBezTo>
                <a:lnTo>
                  <a:pt x="3662215" y="3642317"/>
                </a:lnTo>
                <a:lnTo>
                  <a:pt x="3662215" y="5216988"/>
                </a:lnTo>
                <a:lnTo>
                  <a:pt x="3662215" y="5216989"/>
                </a:lnTo>
                <a:lnTo>
                  <a:pt x="3662215" y="5235467"/>
                </a:lnTo>
                <a:lnTo>
                  <a:pt x="3653377" y="5279239"/>
                </a:lnTo>
                <a:cubicBezTo>
                  <a:pt x="3639594" y="5311827"/>
                  <a:pt x="3613489" y="5337933"/>
                  <a:pt x="3580900" y="5351716"/>
                </a:cubicBezTo>
                <a:lnTo>
                  <a:pt x="3537132" y="5360552"/>
                </a:lnTo>
                <a:lnTo>
                  <a:pt x="3518647" y="5360553"/>
                </a:lnTo>
                <a:lnTo>
                  <a:pt x="1949784" y="5360553"/>
                </a:lnTo>
                <a:lnTo>
                  <a:pt x="1949784" y="5360552"/>
                </a:lnTo>
                <a:lnTo>
                  <a:pt x="1931296" y="5360552"/>
                </a:lnTo>
                <a:lnTo>
                  <a:pt x="1887528" y="5351716"/>
                </a:lnTo>
                <a:cubicBezTo>
                  <a:pt x="1838647" y="5331042"/>
                  <a:pt x="1804350" y="5282640"/>
                  <a:pt x="1804350" y="5226228"/>
                </a:cubicBezTo>
                <a:cubicBezTo>
                  <a:pt x="1804350" y="5207424"/>
                  <a:pt x="1808160" y="5189510"/>
                  <a:pt x="1815052" y="5173216"/>
                </a:cubicBezTo>
                <a:lnTo>
                  <a:pt x="1836205" y="5141842"/>
                </a:lnTo>
                <a:lnTo>
                  <a:pt x="1856154" y="5121892"/>
                </a:lnTo>
                <a:cubicBezTo>
                  <a:pt x="1856156" y="5121892"/>
                  <a:pt x="1856156" y="5121892"/>
                  <a:pt x="1856156" y="5121891"/>
                </a:cubicBezTo>
                <a:lnTo>
                  <a:pt x="3436812" y="3541235"/>
                </a:lnTo>
                <a:lnTo>
                  <a:pt x="3473013" y="3516828"/>
                </a:lnTo>
                <a:cubicBezTo>
                  <a:pt x="3489307" y="3509936"/>
                  <a:pt x="3507220" y="3506125"/>
                  <a:pt x="3526024" y="3506125"/>
                </a:cubicBezTo>
                <a:close/>
                <a:moveTo>
                  <a:pt x="9740963" y="2862533"/>
                </a:moveTo>
                <a:lnTo>
                  <a:pt x="9740963" y="3351876"/>
                </a:lnTo>
                <a:lnTo>
                  <a:pt x="9583907" y="3351876"/>
                </a:lnTo>
                <a:lnTo>
                  <a:pt x="9583907" y="3351875"/>
                </a:lnTo>
                <a:lnTo>
                  <a:pt x="9565421" y="3351875"/>
                </a:lnTo>
                <a:lnTo>
                  <a:pt x="9521653" y="3343039"/>
                </a:lnTo>
                <a:cubicBezTo>
                  <a:pt x="9472773" y="3322365"/>
                  <a:pt x="9438473" y="3273963"/>
                  <a:pt x="9438473" y="3217551"/>
                </a:cubicBezTo>
                <a:cubicBezTo>
                  <a:pt x="9438473" y="3198748"/>
                  <a:pt x="9442285" y="3180834"/>
                  <a:pt x="9449177" y="3164541"/>
                </a:cubicBezTo>
                <a:lnTo>
                  <a:pt x="9470329" y="3133166"/>
                </a:lnTo>
                <a:lnTo>
                  <a:pt x="9490279" y="3113216"/>
                </a:lnTo>
                <a:cubicBezTo>
                  <a:pt x="9490279" y="3113216"/>
                  <a:pt x="9490281" y="3113216"/>
                  <a:pt x="9490281" y="3113215"/>
                </a:cubicBezTo>
                <a:close/>
                <a:moveTo>
                  <a:pt x="9022355" y="1497450"/>
                </a:moveTo>
                <a:lnTo>
                  <a:pt x="9740963" y="1497450"/>
                </a:lnTo>
                <a:lnTo>
                  <a:pt x="9740963" y="2679993"/>
                </a:lnTo>
                <a:lnTo>
                  <a:pt x="9104189" y="3316766"/>
                </a:lnTo>
                <a:lnTo>
                  <a:pt x="9067989" y="3341173"/>
                </a:lnTo>
                <a:cubicBezTo>
                  <a:pt x="9051695" y="3348066"/>
                  <a:pt x="9033781" y="3351876"/>
                  <a:pt x="9014977" y="3351876"/>
                </a:cubicBezTo>
                <a:cubicBezTo>
                  <a:pt x="8939761" y="3351876"/>
                  <a:pt x="8878787" y="3290902"/>
                  <a:pt x="8878787" y="3215686"/>
                </a:cubicBezTo>
                <a:lnTo>
                  <a:pt x="8878787" y="3215685"/>
                </a:lnTo>
                <a:lnTo>
                  <a:pt x="8878787" y="1641015"/>
                </a:lnTo>
                <a:lnTo>
                  <a:pt x="8878787" y="1641014"/>
                </a:lnTo>
                <a:lnTo>
                  <a:pt x="8878787" y="1622536"/>
                </a:lnTo>
                <a:lnTo>
                  <a:pt x="8887625" y="1578764"/>
                </a:lnTo>
                <a:cubicBezTo>
                  <a:pt x="8901407" y="1546176"/>
                  <a:pt x="8927513" y="1520070"/>
                  <a:pt x="8960101" y="1506287"/>
                </a:cubicBezTo>
                <a:lnTo>
                  <a:pt x="9003869" y="1497451"/>
                </a:lnTo>
                <a:close/>
                <a:moveTo>
                  <a:pt x="7039199" y="1497450"/>
                </a:moveTo>
                <a:lnTo>
                  <a:pt x="8608063" y="1497450"/>
                </a:lnTo>
                <a:lnTo>
                  <a:pt x="8626549" y="1497451"/>
                </a:lnTo>
                <a:lnTo>
                  <a:pt x="8670317" y="1506287"/>
                </a:lnTo>
                <a:cubicBezTo>
                  <a:pt x="8702905" y="1520070"/>
                  <a:pt x="8729011" y="1546176"/>
                  <a:pt x="8742793" y="1578764"/>
                </a:cubicBezTo>
                <a:lnTo>
                  <a:pt x="8751631" y="1622536"/>
                </a:lnTo>
                <a:lnTo>
                  <a:pt x="8751631" y="1641014"/>
                </a:lnTo>
                <a:lnTo>
                  <a:pt x="8751631" y="1641015"/>
                </a:lnTo>
                <a:lnTo>
                  <a:pt x="8751631" y="3215685"/>
                </a:lnTo>
                <a:lnTo>
                  <a:pt x="8751631" y="3215686"/>
                </a:lnTo>
                <a:cubicBezTo>
                  <a:pt x="8751631" y="3290902"/>
                  <a:pt x="8690657" y="3351876"/>
                  <a:pt x="8615441" y="3351876"/>
                </a:cubicBezTo>
                <a:cubicBezTo>
                  <a:pt x="8596637" y="3351876"/>
                  <a:pt x="8578723" y="3348066"/>
                  <a:pt x="8562429" y="3341173"/>
                </a:cubicBezTo>
                <a:lnTo>
                  <a:pt x="8526229" y="3316766"/>
                </a:lnTo>
                <a:lnTo>
                  <a:pt x="6945573" y="1736112"/>
                </a:lnTo>
                <a:cubicBezTo>
                  <a:pt x="6945573" y="1736111"/>
                  <a:pt x="6945571" y="1736111"/>
                  <a:pt x="6945571" y="1736111"/>
                </a:cubicBezTo>
                <a:lnTo>
                  <a:pt x="6925621" y="1716161"/>
                </a:lnTo>
                <a:lnTo>
                  <a:pt x="6904469" y="1684787"/>
                </a:lnTo>
                <a:cubicBezTo>
                  <a:pt x="6897577" y="1668493"/>
                  <a:pt x="6893765" y="1650579"/>
                  <a:pt x="6893765" y="1631775"/>
                </a:cubicBezTo>
                <a:cubicBezTo>
                  <a:pt x="6893765" y="1575363"/>
                  <a:pt x="6928065" y="1526961"/>
                  <a:pt x="6976945" y="1506287"/>
                </a:cubicBezTo>
                <a:lnTo>
                  <a:pt x="7020713" y="1497451"/>
                </a:lnTo>
                <a:lnTo>
                  <a:pt x="7039199" y="1497451"/>
                </a:lnTo>
                <a:close/>
                <a:moveTo>
                  <a:pt x="6470269" y="1497450"/>
                </a:moveTo>
                <a:cubicBezTo>
                  <a:pt x="6489073" y="1497450"/>
                  <a:pt x="6506987" y="1501261"/>
                  <a:pt x="6523281" y="1508153"/>
                </a:cubicBezTo>
                <a:lnTo>
                  <a:pt x="6559481" y="1532560"/>
                </a:lnTo>
                <a:lnTo>
                  <a:pt x="8140137" y="3113215"/>
                </a:lnTo>
                <a:cubicBezTo>
                  <a:pt x="8140139" y="3113216"/>
                  <a:pt x="8140139" y="3113216"/>
                  <a:pt x="8140139" y="3113216"/>
                </a:cubicBezTo>
                <a:lnTo>
                  <a:pt x="8160089" y="3133166"/>
                </a:lnTo>
                <a:lnTo>
                  <a:pt x="8181241" y="3164541"/>
                </a:lnTo>
                <a:cubicBezTo>
                  <a:pt x="8188133" y="3180834"/>
                  <a:pt x="8191945" y="3198748"/>
                  <a:pt x="8191945" y="3217551"/>
                </a:cubicBezTo>
                <a:cubicBezTo>
                  <a:pt x="8191945" y="3273963"/>
                  <a:pt x="8157647" y="3322365"/>
                  <a:pt x="8108765" y="3343039"/>
                </a:cubicBezTo>
                <a:lnTo>
                  <a:pt x="8064997" y="3351875"/>
                </a:lnTo>
                <a:lnTo>
                  <a:pt x="8046511" y="3351875"/>
                </a:lnTo>
                <a:lnTo>
                  <a:pt x="8046511" y="3351876"/>
                </a:lnTo>
                <a:lnTo>
                  <a:pt x="6477647" y="3351876"/>
                </a:lnTo>
                <a:lnTo>
                  <a:pt x="6459161" y="3351875"/>
                </a:lnTo>
                <a:lnTo>
                  <a:pt x="6415393" y="3343039"/>
                </a:lnTo>
                <a:cubicBezTo>
                  <a:pt x="6382805" y="3329256"/>
                  <a:pt x="6356699" y="3303150"/>
                  <a:pt x="6342917" y="3270562"/>
                </a:cubicBezTo>
                <a:lnTo>
                  <a:pt x="6334079" y="3226790"/>
                </a:lnTo>
                <a:lnTo>
                  <a:pt x="6334079" y="3208313"/>
                </a:lnTo>
                <a:lnTo>
                  <a:pt x="6334079" y="3208312"/>
                </a:lnTo>
                <a:lnTo>
                  <a:pt x="6334079" y="1633642"/>
                </a:lnTo>
                <a:lnTo>
                  <a:pt x="6334079" y="1633641"/>
                </a:lnTo>
                <a:cubicBezTo>
                  <a:pt x="6334079" y="1558425"/>
                  <a:pt x="6395053" y="1497450"/>
                  <a:pt x="6470269" y="1497450"/>
                </a:cubicBezTo>
                <a:close/>
                <a:moveTo>
                  <a:pt x="6070733" y="1497450"/>
                </a:moveTo>
                <a:cubicBezTo>
                  <a:pt x="6145949" y="1497450"/>
                  <a:pt x="6206923" y="1558425"/>
                  <a:pt x="6206923" y="1633641"/>
                </a:cubicBezTo>
                <a:lnTo>
                  <a:pt x="6206923" y="1633642"/>
                </a:lnTo>
                <a:lnTo>
                  <a:pt x="6206923" y="3208312"/>
                </a:lnTo>
                <a:lnTo>
                  <a:pt x="6206923" y="3208313"/>
                </a:lnTo>
                <a:lnTo>
                  <a:pt x="6206923" y="3226790"/>
                </a:lnTo>
                <a:lnTo>
                  <a:pt x="6198085" y="3270562"/>
                </a:lnTo>
                <a:cubicBezTo>
                  <a:pt x="6184303" y="3303150"/>
                  <a:pt x="6158197" y="3329256"/>
                  <a:pt x="6125609" y="3343039"/>
                </a:cubicBezTo>
                <a:lnTo>
                  <a:pt x="6081841" y="3351875"/>
                </a:lnTo>
                <a:lnTo>
                  <a:pt x="6063355" y="3351876"/>
                </a:lnTo>
                <a:lnTo>
                  <a:pt x="4494492" y="3351876"/>
                </a:lnTo>
                <a:lnTo>
                  <a:pt x="4494492" y="3351875"/>
                </a:lnTo>
                <a:lnTo>
                  <a:pt x="4476005" y="3351875"/>
                </a:lnTo>
                <a:lnTo>
                  <a:pt x="4432239" y="3343039"/>
                </a:lnTo>
                <a:cubicBezTo>
                  <a:pt x="4383357" y="3322365"/>
                  <a:pt x="4349059" y="3273963"/>
                  <a:pt x="4349059" y="3217551"/>
                </a:cubicBezTo>
                <a:cubicBezTo>
                  <a:pt x="4349059" y="3198748"/>
                  <a:pt x="4352870" y="3180834"/>
                  <a:pt x="4359762" y="3164541"/>
                </a:cubicBezTo>
                <a:lnTo>
                  <a:pt x="4380915" y="3133166"/>
                </a:lnTo>
                <a:lnTo>
                  <a:pt x="4400864" y="3113216"/>
                </a:lnTo>
                <a:cubicBezTo>
                  <a:pt x="4400864" y="3113216"/>
                  <a:pt x="4400864" y="3113216"/>
                  <a:pt x="4400867" y="3113215"/>
                </a:cubicBezTo>
                <a:lnTo>
                  <a:pt x="5981521" y="1532560"/>
                </a:lnTo>
                <a:lnTo>
                  <a:pt x="6017721" y="1508153"/>
                </a:lnTo>
                <a:cubicBezTo>
                  <a:pt x="6034015" y="1501261"/>
                  <a:pt x="6051929" y="1497450"/>
                  <a:pt x="6070733" y="1497450"/>
                </a:cubicBezTo>
                <a:close/>
                <a:moveTo>
                  <a:pt x="3932943" y="1497450"/>
                </a:moveTo>
                <a:lnTo>
                  <a:pt x="5501803" y="1497450"/>
                </a:lnTo>
                <a:lnTo>
                  <a:pt x="5501803" y="1497451"/>
                </a:lnTo>
                <a:lnTo>
                  <a:pt x="5520290" y="1497451"/>
                </a:lnTo>
                <a:lnTo>
                  <a:pt x="5564058" y="1506287"/>
                </a:lnTo>
                <a:cubicBezTo>
                  <a:pt x="5612939" y="1526961"/>
                  <a:pt x="5647237" y="1575363"/>
                  <a:pt x="5647237" y="1631775"/>
                </a:cubicBezTo>
                <a:cubicBezTo>
                  <a:pt x="5647237" y="1650579"/>
                  <a:pt x="5643426" y="1668493"/>
                  <a:pt x="5636534" y="1684787"/>
                </a:cubicBezTo>
                <a:lnTo>
                  <a:pt x="5615382" y="1716161"/>
                </a:lnTo>
                <a:lnTo>
                  <a:pt x="5595432" y="1736111"/>
                </a:lnTo>
                <a:cubicBezTo>
                  <a:pt x="5595431" y="1736111"/>
                  <a:pt x="5595431" y="1736111"/>
                  <a:pt x="5595430" y="1736112"/>
                </a:cubicBezTo>
                <a:lnTo>
                  <a:pt x="4014775" y="3316766"/>
                </a:lnTo>
                <a:lnTo>
                  <a:pt x="3978575" y="3341173"/>
                </a:lnTo>
                <a:cubicBezTo>
                  <a:pt x="3962281" y="3348066"/>
                  <a:pt x="3944366" y="3351876"/>
                  <a:pt x="3925563" y="3351876"/>
                </a:cubicBezTo>
                <a:cubicBezTo>
                  <a:pt x="3850347" y="3351876"/>
                  <a:pt x="3789371" y="3290902"/>
                  <a:pt x="3789371" y="3215686"/>
                </a:cubicBezTo>
                <a:lnTo>
                  <a:pt x="3789371" y="3215685"/>
                </a:lnTo>
                <a:lnTo>
                  <a:pt x="3789372" y="1641014"/>
                </a:lnTo>
                <a:lnTo>
                  <a:pt x="3789374" y="1641015"/>
                </a:lnTo>
                <a:lnTo>
                  <a:pt x="3789374" y="1622536"/>
                </a:lnTo>
                <a:lnTo>
                  <a:pt x="3798210" y="1578764"/>
                </a:lnTo>
                <a:cubicBezTo>
                  <a:pt x="3811994" y="1546176"/>
                  <a:pt x="3838100" y="1520070"/>
                  <a:pt x="3870687" y="1506287"/>
                </a:cubicBezTo>
                <a:lnTo>
                  <a:pt x="3914456" y="1497451"/>
                </a:lnTo>
                <a:close/>
                <a:moveTo>
                  <a:pt x="1949785" y="1497450"/>
                </a:moveTo>
                <a:lnTo>
                  <a:pt x="3518648" y="1497450"/>
                </a:lnTo>
                <a:lnTo>
                  <a:pt x="3537134" y="1497451"/>
                </a:lnTo>
                <a:lnTo>
                  <a:pt x="3580902" y="1506287"/>
                </a:lnTo>
                <a:cubicBezTo>
                  <a:pt x="3613490" y="1520070"/>
                  <a:pt x="3639597" y="1546176"/>
                  <a:pt x="3653380" y="1578764"/>
                </a:cubicBezTo>
                <a:lnTo>
                  <a:pt x="3662216" y="1622536"/>
                </a:lnTo>
                <a:lnTo>
                  <a:pt x="3662216" y="1641015"/>
                </a:lnTo>
                <a:lnTo>
                  <a:pt x="3662218" y="1641014"/>
                </a:lnTo>
                <a:lnTo>
                  <a:pt x="3662217" y="3215685"/>
                </a:lnTo>
                <a:lnTo>
                  <a:pt x="3662217" y="3215686"/>
                </a:lnTo>
                <a:cubicBezTo>
                  <a:pt x="3662217" y="3290902"/>
                  <a:pt x="3601242" y="3351876"/>
                  <a:pt x="3526026" y="3351876"/>
                </a:cubicBezTo>
                <a:cubicBezTo>
                  <a:pt x="3507221" y="3351876"/>
                  <a:pt x="3489308" y="3348066"/>
                  <a:pt x="3473014" y="3341173"/>
                </a:cubicBezTo>
                <a:lnTo>
                  <a:pt x="3436813" y="3316766"/>
                </a:lnTo>
                <a:lnTo>
                  <a:pt x="1856157" y="1736112"/>
                </a:lnTo>
                <a:cubicBezTo>
                  <a:pt x="1856157" y="1736111"/>
                  <a:pt x="1856156" y="1736111"/>
                  <a:pt x="1856156" y="1736111"/>
                </a:cubicBezTo>
                <a:lnTo>
                  <a:pt x="1836206" y="1716161"/>
                </a:lnTo>
                <a:lnTo>
                  <a:pt x="1815054" y="1684787"/>
                </a:lnTo>
                <a:cubicBezTo>
                  <a:pt x="1808163" y="1668493"/>
                  <a:pt x="1804351" y="1650579"/>
                  <a:pt x="1804351" y="1631775"/>
                </a:cubicBezTo>
                <a:cubicBezTo>
                  <a:pt x="1804351" y="1575363"/>
                  <a:pt x="1838650" y="1526961"/>
                  <a:pt x="1887531" y="1506287"/>
                </a:cubicBezTo>
                <a:lnTo>
                  <a:pt x="1931299" y="1497451"/>
                </a:lnTo>
                <a:lnTo>
                  <a:pt x="1949785" y="1497451"/>
                </a:lnTo>
                <a:close/>
                <a:moveTo>
                  <a:pt x="9740963" y="853857"/>
                </a:moveTo>
                <a:lnTo>
                  <a:pt x="9740963" y="1343201"/>
                </a:lnTo>
                <a:lnTo>
                  <a:pt x="9583907" y="1343201"/>
                </a:lnTo>
                <a:lnTo>
                  <a:pt x="9583907" y="1343200"/>
                </a:lnTo>
                <a:lnTo>
                  <a:pt x="9565421" y="1343200"/>
                </a:lnTo>
                <a:lnTo>
                  <a:pt x="9521653" y="1334363"/>
                </a:lnTo>
                <a:cubicBezTo>
                  <a:pt x="9472773" y="1313689"/>
                  <a:pt x="9438473" y="1265288"/>
                  <a:pt x="9438473" y="1208876"/>
                </a:cubicBezTo>
                <a:cubicBezTo>
                  <a:pt x="9438473" y="1190072"/>
                  <a:pt x="9442285" y="1172158"/>
                  <a:pt x="9449177" y="1155864"/>
                </a:cubicBezTo>
                <a:lnTo>
                  <a:pt x="9470329" y="1124490"/>
                </a:lnTo>
                <a:lnTo>
                  <a:pt x="9490279" y="1104541"/>
                </a:lnTo>
                <a:cubicBezTo>
                  <a:pt x="9490279" y="1104540"/>
                  <a:pt x="9490281" y="1104540"/>
                  <a:pt x="9490281" y="1104539"/>
                </a:cubicBezTo>
                <a:close/>
                <a:moveTo>
                  <a:pt x="8878787" y="0"/>
                </a:moveTo>
                <a:lnTo>
                  <a:pt x="9740963" y="0"/>
                </a:lnTo>
                <a:lnTo>
                  <a:pt x="9740963" y="671317"/>
                </a:lnTo>
                <a:lnTo>
                  <a:pt x="9104189" y="1308091"/>
                </a:lnTo>
                <a:lnTo>
                  <a:pt x="9067989" y="1332498"/>
                </a:lnTo>
                <a:cubicBezTo>
                  <a:pt x="9051695" y="1339390"/>
                  <a:pt x="9033781" y="1343201"/>
                  <a:pt x="9014977" y="1343201"/>
                </a:cubicBezTo>
                <a:cubicBezTo>
                  <a:pt x="8939761" y="1343201"/>
                  <a:pt x="8878787" y="1282226"/>
                  <a:pt x="8878787" y="1207011"/>
                </a:cubicBezTo>
                <a:lnTo>
                  <a:pt x="8878787" y="1207009"/>
                </a:lnTo>
                <a:close/>
                <a:moveTo>
                  <a:pt x="7218138" y="0"/>
                </a:moveTo>
                <a:lnTo>
                  <a:pt x="8751631" y="0"/>
                </a:lnTo>
                <a:lnTo>
                  <a:pt x="8751631" y="1207009"/>
                </a:lnTo>
                <a:lnTo>
                  <a:pt x="8751631" y="1207011"/>
                </a:lnTo>
                <a:cubicBezTo>
                  <a:pt x="8751631" y="1282226"/>
                  <a:pt x="8690657" y="1343201"/>
                  <a:pt x="8615441" y="1343201"/>
                </a:cubicBezTo>
                <a:cubicBezTo>
                  <a:pt x="8596637" y="1343201"/>
                  <a:pt x="8578723" y="1339390"/>
                  <a:pt x="8562429" y="1332498"/>
                </a:cubicBezTo>
                <a:lnTo>
                  <a:pt x="8526229" y="1308091"/>
                </a:lnTo>
                <a:close/>
                <a:moveTo>
                  <a:pt x="6334079" y="0"/>
                </a:moveTo>
                <a:lnTo>
                  <a:pt x="7035598" y="0"/>
                </a:lnTo>
                <a:lnTo>
                  <a:pt x="8140137" y="1104539"/>
                </a:lnTo>
                <a:cubicBezTo>
                  <a:pt x="8140139" y="1104540"/>
                  <a:pt x="8140139" y="1104540"/>
                  <a:pt x="8140139" y="1104541"/>
                </a:cubicBezTo>
                <a:lnTo>
                  <a:pt x="8160089" y="1124490"/>
                </a:lnTo>
                <a:lnTo>
                  <a:pt x="8181241" y="1155864"/>
                </a:lnTo>
                <a:cubicBezTo>
                  <a:pt x="8188133" y="1172158"/>
                  <a:pt x="8191945" y="1190072"/>
                  <a:pt x="8191945" y="1208876"/>
                </a:cubicBezTo>
                <a:cubicBezTo>
                  <a:pt x="8191945" y="1265288"/>
                  <a:pt x="8157647" y="1313689"/>
                  <a:pt x="8108765" y="1334363"/>
                </a:cubicBezTo>
                <a:lnTo>
                  <a:pt x="8064997" y="1343200"/>
                </a:lnTo>
                <a:lnTo>
                  <a:pt x="8046511" y="1343200"/>
                </a:lnTo>
                <a:lnTo>
                  <a:pt x="8046511" y="1343201"/>
                </a:lnTo>
                <a:lnTo>
                  <a:pt x="6477647" y="1343201"/>
                </a:lnTo>
                <a:lnTo>
                  <a:pt x="6459161" y="1343200"/>
                </a:lnTo>
                <a:lnTo>
                  <a:pt x="6415393" y="1334363"/>
                </a:lnTo>
                <a:cubicBezTo>
                  <a:pt x="6382805" y="1320581"/>
                  <a:pt x="6356699" y="1294475"/>
                  <a:pt x="6342917" y="1261887"/>
                </a:cubicBezTo>
                <a:lnTo>
                  <a:pt x="6334079" y="1218115"/>
                </a:lnTo>
                <a:lnTo>
                  <a:pt x="6334079" y="1199637"/>
                </a:lnTo>
                <a:lnTo>
                  <a:pt x="6334079" y="1199636"/>
                </a:lnTo>
                <a:close/>
                <a:moveTo>
                  <a:pt x="5505405" y="0"/>
                </a:moveTo>
                <a:lnTo>
                  <a:pt x="6206923" y="0"/>
                </a:lnTo>
                <a:lnTo>
                  <a:pt x="6206923" y="1199636"/>
                </a:lnTo>
                <a:lnTo>
                  <a:pt x="6206923" y="1199637"/>
                </a:lnTo>
                <a:lnTo>
                  <a:pt x="6206923" y="1218115"/>
                </a:lnTo>
                <a:lnTo>
                  <a:pt x="6198085" y="1261887"/>
                </a:lnTo>
                <a:cubicBezTo>
                  <a:pt x="6184303" y="1294475"/>
                  <a:pt x="6158197" y="1320581"/>
                  <a:pt x="6125609" y="1334363"/>
                </a:cubicBezTo>
                <a:lnTo>
                  <a:pt x="6081841" y="1343200"/>
                </a:lnTo>
                <a:lnTo>
                  <a:pt x="6063355" y="1343201"/>
                </a:lnTo>
                <a:lnTo>
                  <a:pt x="4494493" y="1343201"/>
                </a:lnTo>
                <a:lnTo>
                  <a:pt x="4494493" y="1343200"/>
                </a:lnTo>
                <a:lnTo>
                  <a:pt x="4476006" y="1343200"/>
                </a:lnTo>
                <a:lnTo>
                  <a:pt x="4432239" y="1334363"/>
                </a:lnTo>
                <a:cubicBezTo>
                  <a:pt x="4383357" y="1313689"/>
                  <a:pt x="4349060" y="1265288"/>
                  <a:pt x="4349060" y="1208876"/>
                </a:cubicBezTo>
                <a:cubicBezTo>
                  <a:pt x="4349060" y="1190072"/>
                  <a:pt x="4352871" y="1172158"/>
                  <a:pt x="4359762" y="1155864"/>
                </a:cubicBezTo>
                <a:lnTo>
                  <a:pt x="4380915" y="1124490"/>
                </a:lnTo>
                <a:lnTo>
                  <a:pt x="4400865" y="1104541"/>
                </a:lnTo>
                <a:cubicBezTo>
                  <a:pt x="4400865" y="1104540"/>
                  <a:pt x="4400865" y="1104540"/>
                  <a:pt x="4400867" y="1104539"/>
                </a:cubicBezTo>
                <a:close/>
                <a:moveTo>
                  <a:pt x="3789372" y="0"/>
                </a:moveTo>
                <a:lnTo>
                  <a:pt x="5322865" y="0"/>
                </a:lnTo>
                <a:lnTo>
                  <a:pt x="4014775" y="1308091"/>
                </a:lnTo>
                <a:lnTo>
                  <a:pt x="3978576" y="1332498"/>
                </a:lnTo>
                <a:cubicBezTo>
                  <a:pt x="3962281" y="1339390"/>
                  <a:pt x="3944367" y="1343201"/>
                  <a:pt x="3925564" y="1343201"/>
                </a:cubicBezTo>
                <a:cubicBezTo>
                  <a:pt x="3850347" y="1343201"/>
                  <a:pt x="3789372" y="1282226"/>
                  <a:pt x="3789372" y="1207011"/>
                </a:cubicBezTo>
                <a:lnTo>
                  <a:pt x="3789372" y="1207009"/>
                </a:lnTo>
                <a:close/>
                <a:moveTo>
                  <a:pt x="2128722" y="0"/>
                </a:moveTo>
                <a:lnTo>
                  <a:pt x="3662218" y="0"/>
                </a:lnTo>
                <a:lnTo>
                  <a:pt x="3662218" y="1207009"/>
                </a:lnTo>
                <a:lnTo>
                  <a:pt x="3662218" y="1207011"/>
                </a:lnTo>
                <a:cubicBezTo>
                  <a:pt x="3662218" y="1282226"/>
                  <a:pt x="3601243" y="1343201"/>
                  <a:pt x="3526026" y="1343201"/>
                </a:cubicBezTo>
                <a:cubicBezTo>
                  <a:pt x="3507222" y="1343201"/>
                  <a:pt x="3489309" y="1339390"/>
                  <a:pt x="3473015" y="1332498"/>
                </a:cubicBezTo>
                <a:lnTo>
                  <a:pt x="3436814" y="1308091"/>
                </a:lnTo>
                <a:close/>
                <a:moveTo>
                  <a:pt x="1244667" y="0"/>
                </a:moveTo>
                <a:lnTo>
                  <a:pt x="1946188" y="0"/>
                </a:lnTo>
                <a:lnTo>
                  <a:pt x="3050724" y="1104539"/>
                </a:lnTo>
                <a:cubicBezTo>
                  <a:pt x="3050724" y="1104540"/>
                  <a:pt x="3050724" y="1104540"/>
                  <a:pt x="3050726" y="1104541"/>
                </a:cubicBezTo>
                <a:lnTo>
                  <a:pt x="3070675" y="1124490"/>
                </a:lnTo>
                <a:lnTo>
                  <a:pt x="3091828" y="1155864"/>
                </a:lnTo>
                <a:cubicBezTo>
                  <a:pt x="3098719" y="1172158"/>
                  <a:pt x="3102530" y="1190072"/>
                  <a:pt x="3102530" y="1208876"/>
                </a:cubicBezTo>
                <a:cubicBezTo>
                  <a:pt x="3102530" y="1265288"/>
                  <a:pt x="3068231" y="1313689"/>
                  <a:pt x="3019351" y="1334363"/>
                </a:cubicBezTo>
                <a:lnTo>
                  <a:pt x="2975584" y="1343200"/>
                </a:lnTo>
                <a:lnTo>
                  <a:pt x="2957097" y="1343200"/>
                </a:lnTo>
                <a:lnTo>
                  <a:pt x="2957097" y="1343201"/>
                </a:lnTo>
                <a:lnTo>
                  <a:pt x="1388238" y="1343201"/>
                </a:lnTo>
                <a:lnTo>
                  <a:pt x="1369751" y="1343200"/>
                </a:lnTo>
                <a:lnTo>
                  <a:pt x="1325983" y="1334363"/>
                </a:lnTo>
                <a:cubicBezTo>
                  <a:pt x="1293396" y="1320581"/>
                  <a:pt x="1267290" y="1294475"/>
                  <a:pt x="1253507" y="1261887"/>
                </a:cubicBezTo>
                <a:lnTo>
                  <a:pt x="1244670" y="1218115"/>
                </a:lnTo>
                <a:lnTo>
                  <a:pt x="1244670" y="1199636"/>
                </a:lnTo>
                <a:lnTo>
                  <a:pt x="1244667" y="1199637"/>
                </a:lnTo>
                <a:close/>
                <a:moveTo>
                  <a:pt x="13126" y="0"/>
                </a:moveTo>
                <a:lnTo>
                  <a:pt x="1128917" y="0"/>
                </a:lnTo>
                <a:lnTo>
                  <a:pt x="1128917" y="783502"/>
                </a:lnTo>
                <a:lnTo>
                  <a:pt x="1128917" y="801988"/>
                </a:lnTo>
                <a:lnTo>
                  <a:pt x="1120079" y="845757"/>
                </a:lnTo>
                <a:cubicBezTo>
                  <a:pt x="1099407" y="894638"/>
                  <a:pt x="1051005" y="928936"/>
                  <a:pt x="994592" y="928936"/>
                </a:cubicBezTo>
                <a:cubicBezTo>
                  <a:pt x="975788" y="928936"/>
                  <a:pt x="957874" y="925125"/>
                  <a:pt x="941580" y="918233"/>
                </a:cubicBezTo>
                <a:lnTo>
                  <a:pt x="910206" y="897080"/>
                </a:lnTo>
                <a:lnTo>
                  <a:pt x="890257" y="877131"/>
                </a:lnTo>
                <a:cubicBezTo>
                  <a:pt x="890257" y="877130"/>
                  <a:pt x="890257" y="877130"/>
                  <a:pt x="890255" y="877129"/>
                </a:cubicBezTo>
                <a:close/>
              </a:path>
            </a:pathLst>
          </a:custGeom>
        </p:spPr>
        <p:txBody>
          <a:bodyPr wrap="square" anchor="t">
            <a:noAutofit/>
          </a:bodyPr>
          <a:lstStyle>
            <a:lvl1pPr marL="0" indent="0">
              <a:buNone/>
              <a:defRPr/>
            </a:lvl1pPr>
          </a:lstStyle>
          <a:p>
            <a:endParaRPr lang="en-US" dirty="0"/>
          </a:p>
        </p:txBody>
      </p:sp>
      <p:cxnSp>
        <p:nvCxnSpPr>
          <p:cNvPr id="5" name="Straight Connector 4">
            <a:extLst>
              <a:ext uri="{FF2B5EF4-FFF2-40B4-BE49-F238E27FC236}">
                <a16:creationId xmlns:a16="http://schemas.microsoft.com/office/drawing/2014/main" id="{A680A1CF-F68C-45F0-A5BC-1B5F31BA0E32}"/>
              </a:ext>
            </a:extLst>
          </p:cNvPr>
          <p:cNvCxnSpPr/>
          <p:nvPr userDrawn="1"/>
        </p:nvCxnSpPr>
        <p:spPr>
          <a:xfrm>
            <a:off x="492968" y="293672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9BCDB7-0D00-4F03-A598-19299CFEE44F}"/>
              </a:ext>
            </a:extLst>
          </p:cNvPr>
          <p:cNvSpPr>
            <a:spLocks noGrp="1"/>
          </p:cNvSpPr>
          <p:nvPr>
            <p:ph type="body" sz="quarter" idx="11" hasCustomPrompt="1"/>
          </p:nvPr>
        </p:nvSpPr>
        <p:spPr>
          <a:xfrm>
            <a:off x="390331" y="2558338"/>
            <a:ext cx="3657600" cy="274320"/>
          </a:xfrm>
          <a:prstGeom prst="rect">
            <a:avLst/>
          </a:prstGeom>
        </p:spPr>
        <p:txBody>
          <a:bodyPr anchor="ctr"/>
          <a:lstStyle>
            <a:lvl1pPr marL="0" indent="0" algn="l">
              <a:lnSpc>
                <a:spcPct val="100000"/>
              </a:lnSpc>
              <a:spcBef>
                <a:spcPts val="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7" name="Text Placeholder 4">
            <a:extLst>
              <a:ext uri="{FF2B5EF4-FFF2-40B4-BE49-F238E27FC236}">
                <a16:creationId xmlns:a16="http://schemas.microsoft.com/office/drawing/2014/main" id="{4BEABEEC-14B6-4419-97EE-7111538ADA2A}"/>
              </a:ext>
            </a:extLst>
          </p:cNvPr>
          <p:cNvSpPr>
            <a:spLocks noGrp="1"/>
          </p:cNvSpPr>
          <p:nvPr>
            <p:ph type="body" sz="quarter" idx="61" hasCustomPrompt="1"/>
          </p:nvPr>
        </p:nvSpPr>
        <p:spPr>
          <a:xfrm>
            <a:off x="390331" y="3434353"/>
            <a:ext cx="36576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9" name="Text Placeholder 7">
            <a:extLst>
              <a:ext uri="{FF2B5EF4-FFF2-40B4-BE49-F238E27FC236}">
                <a16:creationId xmlns:a16="http://schemas.microsoft.com/office/drawing/2014/main" id="{7F667EF6-0F30-4E08-A465-3D645C4BCC8B}"/>
              </a:ext>
            </a:extLst>
          </p:cNvPr>
          <p:cNvSpPr>
            <a:spLocks noGrp="1"/>
          </p:cNvSpPr>
          <p:nvPr>
            <p:ph type="body" sz="quarter" idx="62" hasCustomPrompt="1"/>
          </p:nvPr>
        </p:nvSpPr>
        <p:spPr>
          <a:xfrm>
            <a:off x="390331" y="1600200"/>
            <a:ext cx="3657600" cy="854075"/>
          </a:xfrm>
          <a:prstGeom prst="rect">
            <a:avLst/>
          </a:prstGeom>
        </p:spPr>
        <p:txBody>
          <a:bodyPr anchor="ctr"/>
          <a:lstStyle>
            <a:lvl1pPr marL="0" indent="0" algn="l">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Tree>
    <p:extLst>
      <p:ext uri="{BB962C8B-B14F-4D97-AF65-F5344CB8AC3E}">
        <p14:creationId xmlns:p14="http://schemas.microsoft.com/office/powerpoint/2010/main" val="32449803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C98993A-9C3A-4E6F-A8C6-0C942FDF0892}"/>
              </a:ext>
            </a:extLst>
          </p:cNvPr>
          <p:cNvSpPr/>
          <p:nvPr userDrawn="1"/>
        </p:nvSpPr>
        <p:spPr>
          <a:xfrm>
            <a:off x="8003263" y="6246891"/>
            <a:ext cx="968721" cy="461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5EE70E34-1047-42DB-AE04-3FB5C5C73170}"/>
              </a:ext>
            </a:extLst>
          </p:cNvPr>
          <p:cNvCxnSpPr/>
          <p:nvPr userDrawn="1"/>
        </p:nvCxnSpPr>
        <p:spPr>
          <a:xfrm>
            <a:off x="502298"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content</a:t>
            </a:r>
          </a:p>
        </p:txBody>
      </p:sp>
      <p:sp>
        <p:nvSpPr>
          <p:cNvPr id="12" name="TextBox 11">
            <a:extLst>
              <a:ext uri="{FF2B5EF4-FFF2-40B4-BE49-F238E27FC236}">
                <a16:creationId xmlns:a16="http://schemas.microsoft.com/office/drawing/2014/main" id="{A3765DE3-4867-424A-B553-0EE0D6B69DBB}"/>
              </a:ext>
            </a:extLst>
          </p:cNvPr>
          <p:cNvSpPr txBox="1"/>
          <p:nvPr userDrawn="1"/>
        </p:nvSpPr>
        <p:spPr>
          <a:xfrm>
            <a:off x="390331" y="2334982"/>
            <a:ext cx="5715000" cy="615553"/>
          </a:xfrm>
          <a:prstGeom prst="rect">
            <a:avLst/>
          </a:prstGeom>
          <a:noFill/>
        </p:spPr>
        <p:txBody>
          <a:bodyPr wrap="square" rtlCol="0" anchor="b">
            <a:spAutoFit/>
          </a:bodyPr>
          <a:lstStyle/>
          <a:p>
            <a:r>
              <a:rPr lang="en-US" sz="34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Q&amp;A DISCUSSION</a:t>
            </a:r>
          </a:p>
        </p:txBody>
      </p:sp>
      <p:pic>
        <p:nvPicPr>
          <p:cNvPr id="13" name="Picture Placeholder 5">
            <a:extLst>
              <a:ext uri="{FF2B5EF4-FFF2-40B4-BE49-F238E27FC236}">
                <a16:creationId xmlns:a16="http://schemas.microsoft.com/office/drawing/2014/main" id="{E1CE07EB-D7A1-4DCD-BC11-38AD5B76DB0F}"/>
              </a:ext>
            </a:extLst>
          </p:cNvPr>
          <p:cNvPicPr>
            <a:picLocks noChangeAspect="1"/>
          </p:cNvPicPr>
          <p:nvPr userDrawn="1"/>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Tree>
    <p:extLst>
      <p:ext uri="{BB962C8B-B14F-4D97-AF65-F5344CB8AC3E}">
        <p14:creationId xmlns:p14="http://schemas.microsoft.com/office/powerpoint/2010/main" val="34386489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userDrawn="1"/>
        </p:nvPicPr>
        <p:blipFill>
          <a:blip r:embed="rId2"/>
          <a:src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userDrawn="1"/>
        </p:nvSpPr>
        <p:spPr>
          <a:xfrm>
            <a:off x="-1" y="1"/>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a:spLocks/>
          </p:cNvSpPr>
          <p:nvPr userDrawn="1"/>
        </p:nvSpPr>
        <p:spPr bwMode="auto">
          <a:xfrm>
            <a:off x="976498" y="1613180"/>
            <a:ext cx="10239021"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Bebas Neue" charset="0"/>
              </a:rPr>
              <a:t>CONNECT WITH US</a:t>
            </a:r>
          </a:p>
        </p:txBody>
      </p:sp>
      <p:sp>
        <p:nvSpPr>
          <p:cNvPr id="10" name="Rectangle 9">
            <a:extLst>
              <a:ext uri="{FF2B5EF4-FFF2-40B4-BE49-F238E27FC236}">
                <a16:creationId xmlns:a16="http://schemas.microsoft.com/office/drawing/2014/main" id="{64EB43D7-6E46-4F6B-A9DB-D495F1CDBCFC}"/>
              </a:ext>
            </a:extLst>
          </p:cNvPr>
          <p:cNvSpPr/>
          <p:nvPr userDrawn="1"/>
        </p:nvSpPr>
        <p:spPr>
          <a:xfrm>
            <a:off x="1558463" y="4140246"/>
            <a:ext cx="1072730"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userDrawn="1"/>
        </p:nvSpPr>
        <p:spPr>
          <a:xfrm>
            <a:off x="381000" y="5794258"/>
            <a:ext cx="11430000" cy="693010"/>
          </a:xfrm>
          <a:prstGeom prst="rect">
            <a:avLst/>
          </a:prstGeom>
          <a:noFill/>
        </p:spPr>
        <p:txBody>
          <a:bodyPr wrap="square" rtlCol="0">
            <a:spAutoFit/>
          </a:bodyPr>
          <a:lstStyle/>
          <a:p>
            <a:pPr algn="ctr">
              <a:lnSpc>
                <a:spcPts val="1620"/>
              </a:lnSpc>
            </a:pPr>
            <a:r>
              <a:rPr lang="en-US" sz="1100" dirty="0">
                <a:solidFill>
                  <a:schemeClr val="bg2"/>
                </a:solidFill>
                <a:latin typeface="Open Sans" panose="020B0606030504020204" pitchFamily="34" charset="0"/>
                <a:ea typeface="Open Sans" panose="020B0606030504020204" pitchFamily="34" charset="0"/>
                <a:cs typeface="Open Sans" panose="020B0606030504020204" pitchFamily="34" charset="0"/>
              </a:rPr>
              <a:t>Baker Donelson is among the 80 largest law firms in the country, with more than 650 attorneys and public policy advisors representing more than 30 practice areas to serve a wide range of legal needs. Clients receive knowledgeable guidance from experienced, multi-disciplined industry and client service teams, all seamlessly connected across 23 offices in Alabama, Florida, Georgia, Louisiana, Maryland, Mississippi, North Carolina,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sp>
        <p:nvSpPr>
          <p:cNvPr id="21" name="Rectangle 20">
            <a:extLst>
              <a:ext uri="{FF2B5EF4-FFF2-40B4-BE49-F238E27FC236}">
                <a16:creationId xmlns:a16="http://schemas.microsoft.com/office/drawing/2014/main" id="{43DE0751-F48A-4E59-91EF-79F744409C3B}"/>
              </a:ext>
            </a:extLst>
          </p:cNvPr>
          <p:cNvSpPr/>
          <p:nvPr userDrawn="1"/>
        </p:nvSpPr>
        <p:spPr>
          <a:xfrm>
            <a:off x="4142510" y="4140246"/>
            <a:ext cx="1299651"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userDrawn="1"/>
        </p:nvSpPr>
        <p:spPr>
          <a:xfrm>
            <a:off x="6652713" y="4140246"/>
            <a:ext cx="1164101"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958536" y="3514829"/>
            <a:ext cx="552450" cy="552450"/>
          </a:xfrm>
          <a:prstGeom prst="rect">
            <a:avLst/>
          </a:prstGeom>
        </p:spPr>
      </p:pic>
      <p:sp>
        <p:nvSpPr>
          <p:cNvPr id="2" name="Rectangle 1">
            <a:extLst>
              <a:ext uri="{FF2B5EF4-FFF2-40B4-BE49-F238E27FC236}">
                <a16:creationId xmlns:a16="http://schemas.microsoft.com/office/drawing/2014/main" id="{CFCDFCA0-2E95-874D-58FD-E3EB408E3E20}"/>
              </a:ext>
            </a:extLst>
          </p:cNvPr>
          <p:cNvSpPr/>
          <p:nvPr userDrawn="1"/>
        </p:nvSpPr>
        <p:spPr>
          <a:xfrm>
            <a:off x="9252904" y="4140246"/>
            <a:ext cx="1378455"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X (TWITTER)</a:t>
            </a:r>
          </a:p>
        </p:txBody>
      </p:sp>
      <p:pic>
        <p:nvPicPr>
          <p:cNvPr id="6" name="Picture 5" descr="A white x on a black background&#10;&#10;Description automatically generated">
            <a:extLst>
              <a:ext uri="{FF2B5EF4-FFF2-40B4-BE49-F238E27FC236}">
                <a16:creationId xmlns:a16="http://schemas.microsoft.com/office/drawing/2014/main" id="{BADD13B3-8597-827C-9C6D-6165E057D453}"/>
              </a:ext>
            </a:extLst>
          </p:cNvPr>
          <p:cNvPicPr>
            <a:picLocks noChangeAspect="1"/>
          </p:cNvPicPr>
          <p:nvPr userDrawn="1"/>
        </p:nvPicPr>
        <p:blipFill>
          <a:blip r:embed="rId9"/>
          <a:stretch>
            <a:fillRect/>
          </a:stretch>
        </p:blipFill>
        <p:spPr>
          <a:xfrm>
            <a:off x="9673738" y="3518639"/>
            <a:ext cx="536786" cy="548640"/>
          </a:xfrm>
          <a:prstGeom prst="rect">
            <a:avLst/>
          </a:prstGeom>
        </p:spPr>
      </p:pic>
    </p:spTree>
    <p:extLst>
      <p:ext uri="{BB962C8B-B14F-4D97-AF65-F5344CB8AC3E}">
        <p14:creationId xmlns:p14="http://schemas.microsoft.com/office/powerpoint/2010/main" val="38474944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A6C47CC-0B48-799E-BDD9-79F72E486C27}"/>
              </a:ext>
            </a:extLst>
          </p:cNvPr>
          <p:cNvSpPr>
            <a:spLocks noGrp="1"/>
          </p:cNvSpPr>
          <p:nvPr>
            <p:ph type="pic" sz="quarter" idx="10"/>
          </p:nvPr>
        </p:nvSpPr>
        <p:spPr>
          <a:xfrm>
            <a:off x="0" y="0"/>
            <a:ext cx="12192000" cy="2286000"/>
          </a:xfrm>
          <a:prstGeom prst="rect">
            <a:avLst/>
          </a:prstGeom>
          <a:solidFill>
            <a:schemeClr val="bg1">
              <a:lumMod val="85000"/>
            </a:schemeClr>
          </a:solidFill>
        </p:spPr>
        <p:txBody>
          <a:bodyPr anchor="ctr"/>
          <a:lstStyle>
            <a:lvl1pPr marL="0" indent="0" algn="ctr">
              <a:buNone/>
              <a:defRPr>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dirty="0"/>
          </a:p>
        </p:txBody>
      </p:sp>
      <p:sp>
        <p:nvSpPr>
          <p:cNvPr id="6" name="Text Placeholder 10">
            <a:extLst>
              <a:ext uri="{FF2B5EF4-FFF2-40B4-BE49-F238E27FC236}">
                <a16:creationId xmlns:a16="http://schemas.microsoft.com/office/drawing/2014/main" id="{7ED3C8FC-6C9B-0385-9B13-EB5FC3861B01}"/>
              </a:ext>
            </a:extLst>
          </p:cNvPr>
          <p:cNvSpPr>
            <a:spLocks noGrp="1"/>
          </p:cNvSpPr>
          <p:nvPr>
            <p:ph type="body" sz="quarter" idx="15" hasCustomPrompt="1"/>
          </p:nvPr>
        </p:nvSpPr>
        <p:spPr>
          <a:xfrm>
            <a:off x="390331" y="478997"/>
            <a:ext cx="6315269" cy="502920"/>
          </a:xfrm>
          <a:prstGeom prst="rect">
            <a:avLst/>
          </a:prstGeom>
        </p:spPr>
        <p:txBody>
          <a:bodyPr anchor="ctr">
            <a:noAutofit/>
          </a:bodyPr>
          <a:lstStyle>
            <a:lvl1pPr marL="0" indent="0" algn="l">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991E6E84-81E6-1746-2197-66428E38FD7A}"/>
              </a:ext>
            </a:extLst>
          </p:cNvPr>
          <p:cNvSpPr>
            <a:spLocks noGrp="1"/>
          </p:cNvSpPr>
          <p:nvPr>
            <p:ph type="body" sz="quarter" idx="16" hasCustomPrompt="1"/>
          </p:nvPr>
        </p:nvSpPr>
        <p:spPr>
          <a:xfrm>
            <a:off x="390331" y="1712695"/>
            <a:ext cx="6626289" cy="274320"/>
          </a:xfrm>
          <a:prstGeom prst="rect">
            <a:avLst/>
          </a:prstGeom>
        </p:spPr>
        <p:txBody>
          <a:bodyPr anchor="ctr">
            <a:noAutofit/>
          </a:bodyPr>
          <a:lstStyle>
            <a:lvl1pPr marL="0" indent="0" algn="l">
              <a:lnSpc>
                <a:spcPct val="100000"/>
              </a:lnSpc>
              <a:spcBef>
                <a:spcPts val="0"/>
              </a:spcBef>
              <a:buNone/>
              <a:defRPr sz="1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cxnSp>
        <p:nvCxnSpPr>
          <p:cNvPr id="5" name="Straight Connector 4">
            <a:extLst>
              <a:ext uri="{FF2B5EF4-FFF2-40B4-BE49-F238E27FC236}">
                <a16:creationId xmlns:a16="http://schemas.microsoft.com/office/drawing/2014/main" id="{1628D026-DE32-5C46-2389-4E8836D91042}"/>
              </a:ext>
            </a:extLst>
          </p:cNvPr>
          <p:cNvCxnSpPr/>
          <p:nvPr userDrawn="1"/>
        </p:nvCxnSpPr>
        <p:spPr>
          <a:xfrm>
            <a:off x="530286" y="1483893"/>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56000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ata Privacy">
    <p:spTree>
      <p:nvGrpSpPr>
        <p:cNvPr id="1" name=""/>
        <p:cNvGrpSpPr/>
        <p:nvPr/>
      </p:nvGrpSpPr>
      <p:grpSpPr>
        <a:xfrm>
          <a:off x="0" y="0"/>
          <a:ext cx="0" cy="0"/>
          <a:chOff x="0" y="0"/>
          <a:chExt cx="0" cy="0"/>
        </a:xfrm>
      </p:grpSpPr>
      <p:pic>
        <p:nvPicPr>
          <p:cNvPr id="12" name="Picture Placeholder 14">
            <a:extLst>
              <a:ext uri="{FF2B5EF4-FFF2-40B4-BE49-F238E27FC236}">
                <a16:creationId xmlns:a16="http://schemas.microsoft.com/office/drawing/2014/main" id="{7FCC1A8B-F827-470E-AA71-EE288BC444C3}"/>
              </a:ext>
            </a:extLst>
          </p:cNvPr>
          <p:cNvPicPr>
            <a:picLocks noChangeAspect="1"/>
          </p:cNvPicPr>
          <p:nvPr userDrawn="1"/>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1" name="Rectangle 10">
            <a:extLst>
              <a:ext uri="{FF2B5EF4-FFF2-40B4-BE49-F238E27FC236}">
                <a16:creationId xmlns:a16="http://schemas.microsoft.com/office/drawing/2014/main" id="{CFF768DD-5594-4F4B-B7FE-94A45903BF18}"/>
              </a:ext>
            </a:extLst>
          </p:cNvPr>
          <p:cNvSpPr/>
          <p:nvPr userDrawn="1"/>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5" name="Straight Connector 14">
            <a:extLst>
              <a:ext uri="{FF2B5EF4-FFF2-40B4-BE49-F238E27FC236}">
                <a16:creationId xmlns:a16="http://schemas.microsoft.com/office/drawing/2014/main" id="{EFC0DD85-ABF6-4AD9-A8BE-86718A77B20B}"/>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10">
            <a:extLst>
              <a:ext uri="{FF2B5EF4-FFF2-40B4-BE49-F238E27FC236}">
                <a16:creationId xmlns:a16="http://schemas.microsoft.com/office/drawing/2014/main" id="{A3CA12F3-089D-4A4B-916E-6E32F1D39576}"/>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PRESENTATION TITLE</a:t>
            </a:r>
          </a:p>
        </p:txBody>
      </p:sp>
      <p:sp>
        <p:nvSpPr>
          <p:cNvPr id="18" name="Text Placeholder 14">
            <a:extLst>
              <a:ext uri="{FF2B5EF4-FFF2-40B4-BE49-F238E27FC236}">
                <a16:creationId xmlns:a16="http://schemas.microsoft.com/office/drawing/2014/main" id="{96550741-CAAA-475D-94BF-DA7E83BA2AFC}"/>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F8D44D4B-17C2-4FFF-A198-0B5159579D34}"/>
              </a:ext>
            </a:extLst>
          </p:cNvPr>
          <p:cNvSpPr>
            <a:spLocks noGrp="1"/>
          </p:cNvSpPr>
          <p:nvPr>
            <p:ph type="body" sz="quarter" idx="12" hasCustomPrompt="1"/>
          </p:nvPr>
        </p:nvSpPr>
        <p:spPr>
          <a:xfrm>
            <a:off x="390331" y="3888870"/>
            <a:ext cx="11420475"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Tree>
    <p:extLst>
      <p:ext uri="{BB962C8B-B14F-4D97-AF65-F5344CB8AC3E}">
        <p14:creationId xmlns:p14="http://schemas.microsoft.com/office/powerpoint/2010/main" val="4236378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 Option 1">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4" y="858"/>
            <a:ext cx="12188951" cy="6856285"/>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6" name="Text Placeholder 14">
            <a:extLst>
              <a:ext uri="{FF2B5EF4-FFF2-40B4-BE49-F238E27FC236}">
                <a16:creationId xmlns:a16="http://schemas.microsoft.com/office/drawing/2014/main" id="{83700D3F-414D-492E-ADEE-DE8CC0B249E9}"/>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0" name="Text Placeholder 14">
            <a:extLst>
              <a:ext uri="{FF2B5EF4-FFF2-40B4-BE49-F238E27FC236}">
                <a16:creationId xmlns:a16="http://schemas.microsoft.com/office/drawing/2014/main" id="{A6CDB0E7-38EF-4CA7-A30D-ED27914F587A}"/>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2" name="Text Placeholder 14">
            <a:extLst>
              <a:ext uri="{FF2B5EF4-FFF2-40B4-BE49-F238E27FC236}">
                <a16:creationId xmlns:a16="http://schemas.microsoft.com/office/drawing/2014/main" id="{8F187370-3173-49CD-8B91-CC3D7A18C26E}"/>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4999BF73-F9F2-4E1D-830C-FDFB628A31F6}"/>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319699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 Option 3">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395F2DED-E789-4A2F-A8C3-D0C606562CAA}"/>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8" name="Text Placeholder 14">
            <a:extLst>
              <a:ext uri="{FF2B5EF4-FFF2-40B4-BE49-F238E27FC236}">
                <a16:creationId xmlns:a16="http://schemas.microsoft.com/office/drawing/2014/main" id="{8EDA1D23-B4AF-4937-8F5E-75E8A00DE4FD}"/>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9FD76667-0576-4977-B3E7-178A926EC9C5}"/>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0" name="Text Placeholder 14">
            <a:extLst>
              <a:ext uri="{FF2B5EF4-FFF2-40B4-BE49-F238E27FC236}">
                <a16:creationId xmlns:a16="http://schemas.microsoft.com/office/drawing/2014/main" id="{00BD73F6-6210-486A-8268-5D7BF88D02A3}"/>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FE9EDCED-0A4D-4C13-9959-396A2FE5A855}"/>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6F445D63-8BE2-4E03-9C99-89873D88EB7A}"/>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629535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 Option 2">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2B758E12-AD2F-4906-B834-89B6D4866075}"/>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8" name="Text Placeholder 14">
            <a:extLst>
              <a:ext uri="{FF2B5EF4-FFF2-40B4-BE49-F238E27FC236}">
                <a16:creationId xmlns:a16="http://schemas.microsoft.com/office/drawing/2014/main" id="{84A46D26-8098-4E37-B0C8-0F384D510F61}"/>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E7C9E9A0-9481-42CB-865A-42258E293F8D}"/>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0" name="Text Placeholder 14">
            <a:extLst>
              <a:ext uri="{FF2B5EF4-FFF2-40B4-BE49-F238E27FC236}">
                <a16:creationId xmlns:a16="http://schemas.microsoft.com/office/drawing/2014/main" id="{C70E4D5D-A044-43A3-9071-75018D0296AC}"/>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2A5EB2FF-27DC-44E9-8831-23A8D15DDCC7}"/>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595C5CB2-297F-4B79-A74B-774830B1D7F6}"/>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29145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Divider - Option 2">
    <p:spTree>
      <p:nvGrpSpPr>
        <p:cNvPr id="1" name=""/>
        <p:cNvGrpSpPr/>
        <p:nvPr/>
      </p:nvGrpSpPr>
      <p:grpSpPr>
        <a:xfrm>
          <a:off x="0" y="0"/>
          <a:ext cx="0" cy="0"/>
          <a:chOff x="0" y="0"/>
          <a:chExt cx="0" cy="0"/>
        </a:xfrm>
      </p:grpSpPr>
      <p:pic>
        <p:nvPicPr>
          <p:cNvPr id="10" name="Picture Placeholder 14">
            <a:extLst>
              <a:ext uri="{FF2B5EF4-FFF2-40B4-BE49-F238E27FC236}">
                <a16:creationId xmlns:a16="http://schemas.microsoft.com/office/drawing/2014/main" id="{E846CDA9-C38D-48E5-A97E-82EB983FF9C9}"/>
              </a:ext>
            </a:extLst>
          </p:cNvPr>
          <p:cNvPicPr>
            <a:picLocks noChangeAspect="1"/>
          </p:cNvPicPr>
          <p:nvPr userDrawn="1"/>
        </p:nvPicPr>
        <p:blipFill>
          <a:blip r:embed="rId2"/>
          <a:srcRect/>
          <a:stretch/>
        </p:blipFill>
        <p:spPr>
          <a:xfrm>
            <a:off x="-64" y="858"/>
            <a:ext cx="12188951"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9" name="Rectangle 8">
            <a:extLst>
              <a:ext uri="{FF2B5EF4-FFF2-40B4-BE49-F238E27FC236}">
                <a16:creationId xmlns:a16="http://schemas.microsoft.com/office/drawing/2014/main" id="{66A21209-D026-4558-A955-F86C0BF69D31}"/>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713245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Divider - Option 3">
    <p:spTree>
      <p:nvGrpSpPr>
        <p:cNvPr id="1" name=""/>
        <p:cNvGrpSpPr/>
        <p:nvPr/>
      </p:nvGrpSpPr>
      <p:grpSpPr>
        <a:xfrm>
          <a:off x="0" y="0"/>
          <a:ext cx="0" cy="0"/>
          <a:chOff x="0" y="0"/>
          <a:chExt cx="0" cy="0"/>
        </a:xfrm>
      </p:grpSpPr>
      <p:pic>
        <p:nvPicPr>
          <p:cNvPr id="9" name="Picture Placeholder 14">
            <a:extLst>
              <a:ext uri="{FF2B5EF4-FFF2-40B4-BE49-F238E27FC236}">
                <a16:creationId xmlns:a16="http://schemas.microsoft.com/office/drawing/2014/main" id="{C8C269CE-FE74-4975-B378-4A4616FBF946}"/>
              </a:ext>
            </a:extLst>
          </p:cNvPr>
          <p:cNvPicPr>
            <a:picLocks noChangeAspect="1"/>
          </p:cNvPicPr>
          <p:nvPr userDrawn="1"/>
        </p:nvPicPr>
        <p:blipFill>
          <a:blip r:embed="rId2"/>
          <a:srcRect/>
          <a:stretch/>
        </p:blipFill>
        <p:spPr>
          <a:xfrm>
            <a:off x="-63" y="858"/>
            <a:ext cx="12188949"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0" name="Text Placeholder 10">
            <a:extLst>
              <a:ext uri="{FF2B5EF4-FFF2-40B4-BE49-F238E27FC236}">
                <a16:creationId xmlns:a16="http://schemas.microsoft.com/office/drawing/2014/main" id="{7FDEC166-C2AC-4E67-91F6-044E56C39A1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4" name="Text Placeholder 14">
            <a:extLst>
              <a:ext uri="{FF2B5EF4-FFF2-40B4-BE49-F238E27FC236}">
                <a16:creationId xmlns:a16="http://schemas.microsoft.com/office/drawing/2014/main" id="{21A4FA97-D13C-4D76-951D-C20BBFD071CE}"/>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9D70867F-596F-45BD-8AFE-ECBE9C882D1F}"/>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661182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11" name="Picture Placeholder 14">
            <a:extLst>
              <a:ext uri="{FF2B5EF4-FFF2-40B4-BE49-F238E27FC236}">
                <a16:creationId xmlns:a16="http://schemas.microsoft.com/office/drawing/2014/main" id="{DBA92C97-7A20-420C-B2A1-1CA5B2E695FB}"/>
              </a:ext>
            </a:extLst>
          </p:cNvPr>
          <p:cNvPicPr>
            <a:picLocks noChangeAspect="1"/>
          </p:cNvPicPr>
          <p:nvPr userDrawn="1"/>
        </p:nvPicPr>
        <p:blipFill>
          <a:blip r:embed="rId2"/>
          <a:srcRect/>
          <a:stretch/>
        </p:blipFill>
        <p:spPr>
          <a:xfrm>
            <a:off x="-64" y="858"/>
            <a:ext cx="12188951" cy="6856285"/>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9" name="Text Placeholder 10">
            <a:extLst>
              <a:ext uri="{FF2B5EF4-FFF2-40B4-BE49-F238E27FC236}">
                <a16:creationId xmlns:a16="http://schemas.microsoft.com/office/drawing/2014/main" id="{BD2952BE-546F-44B6-B989-A67A2CD93029}"/>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3</a:t>
            </a:r>
          </a:p>
        </p:txBody>
      </p:sp>
      <p:sp>
        <p:nvSpPr>
          <p:cNvPr id="14" name="Text Placeholder 14">
            <a:extLst>
              <a:ext uri="{FF2B5EF4-FFF2-40B4-BE49-F238E27FC236}">
                <a16:creationId xmlns:a16="http://schemas.microsoft.com/office/drawing/2014/main" id="{9F14CFA6-52B8-4391-8817-5F25D5FB149B}"/>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E458DF5E-DBF8-4770-87A9-17AAEAB78BBA}"/>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865532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11" name="Picture Placeholder 14">
            <a:extLst>
              <a:ext uri="{FF2B5EF4-FFF2-40B4-BE49-F238E27FC236}">
                <a16:creationId xmlns:a16="http://schemas.microsoft.com/office/drawing/2014/main" id="{DBA92C97-7A20-420C-B2A1-1CA5B2E695FB}"/>
              </a:ext>
            </a:extLst>
          </p:cNvPr>
          <p:cNvPicPr>
            <a:picLocks noChangeAspect="1"/>
          </p:cNvPicPr>
          <p:nvPr userDrawn="1"/>
        </p:nvPicPr>
        <p:blipFill>
          <a:blip r:embed="rId2"/>
          <a:srcRect/>
          <a:stretch/>
        </p:blipFill>
        <p:spPr>
          <a:xfrm>
            <a:off x="-64" y="858"/>
            <a:ext cx="12188951" cy="6856285"/>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9" name="Text Placeholder 10">
            <a:extLst>
              <a:ext uri="{FF2B5EF4-FFF2-40B4-BE49-F238E27FC236}">
                <a16:creationId xmlns:a16="http://schemas.microsoft.com/office/drawing/2014/main" id="{07654975-2781-4AF8-922B-EEDBBF4EA31B}"/>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4" name="Text Placeholder 14">
            <a:extLst>
              <a:ext uri="{FF2B5EF4-FFF2-40B4-BE49-F238E27FC236}">
                <a16:creationId xmlns:a16="http://schemas.microsoft.com/office/drawing/2014/main" id="{CBDDB8BE-49B7-4EFF-B0BA-E6B1C7A9E3CE}"/>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DB7EF568-D6DD-41CA-B7F3-FB11CCCFDB14}"/>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638486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Agenda or TOC without descriptions">
    <p:spTree>
      <p:nvGrpSpPr>
        <p:cNvPr id="1" name=""/>
        <p:cNvGrpSpPr/>
        <p:nvPr/>
      </p:nvGrpSpPr>
      <p:grpSpPr>
        <a:xfrm>
          <a:off x="0" y="0"/>
          <a:ext cx="0" cy="0"/>
          <a:chOff x="0" y="0"/>
          <a:chExt cx="0" cy="0"/>
        </a:xfrm>
      </p:grpSpPr>
      <p:cxnSp>
        <p:nvCxnSpPr>
          <p:cNvPr id="30" name="Straight Connector 29">
            <a:extLst>
              <a:ext uri="{FF2B5EF4-FFF2-40B4-BE49-F238E27FC236}">
                <a16:creationId xmlns:a16="http://schemas.microsoft.com/office/drawing/2014/main" id="{F6324387-C7D9-4B42-B7AE-F952F3B97200}"/>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EDCDA128-C5C2-43B4-8990-FA571D866CB9}"/>
              </a:ext>
            </a:extLst>
          </p:cNvPr>
          <p:cNvSpPr>
            <a:spLocks noGrp="1"/>
          </p:cNvSpPr>
          <p:nvPr>
            <p:ph type="body" sz="quarter" idx="17" hasCustomPrompt="1"/>
          </p:nvPr>
        </p:nvSpPr>
        <p:spPr>
          <a:xfrm>
            <a:off x="1050124" y="2089150"/>
            <a:ext cx="4572000" cy="457200"/>
          </a:xfrm>
          <a:prstGeom prst="rect">
            <a:avLst/>
          </a:prstGeom>
        </p:spPr>
        <p:txBody>
          <a:bodyPr anchor="ctr"/>
          <a:lstStyle>
            <a:lvl1pPr marL="0" indent="0">
              <a:lnSpc>
                <a:spcPct val="100000"/>
              </a:lnSpc>
              <a:spcBef>
                <a:spcPts val="0"/>
              </a:spcBef>
              <a:buNone/>
              <a:defRPr sz="2400">
                <a:solidFill>
                  <a:schemeClr val="accent5"/>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600">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600">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600">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600">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dirty="0"/>
              <a:t>Click to edit title 1</a:t>
            </a:r>
          </a:p>
        </p:txBody>
      </p:sp>
      <p:sp>
        <p:nvSpPr>
          <p:cNvPr id="34" name="Text Placeholder 2">
            <a:extLst>
              <a:ext uri="{FF2B5EF4-FFF2-40B4-BE49-F238E27FC236}">
                <a16:creationId xmlns:a16="http://schemas.microsoft.com/office/drawing/2014/main" id="{C4B5CA21-1D4D-421A-8F4F-89D19AD759D3}"/>
              </a:ext>
            </a:extLst>
          </p:cNvPr>
          <p:cNvSpPr>
            <a:spLocks noGrp="1"/>
          </p:cNvSpPr>
          <p:nvPr>
            <p:ph type="body" sz="quarter" idx="19" hasCustomPrompt="1"/>
          </p:nvPr>
        </p:nvSpPr>
        <p:spPr>
          <a:xfrm>
            <a:off x="6796213" y="2086720"/>
            <a:ext cx="4572000" cy="457200"/>
          </a:xfrm>
          <a:prstGeom prst="rect">
            <a:avLst/>
          </a:prstGeom>
        </p:spPr>
        <p:txBody>
          <a:bodyPr anchor="ctr"/>
          <a:lstStyle>
            <a:lvl1pPr marL="0" indent="0">
              <a:lnSpc>
                <a:spcPct val="100000"/>
              </a:lnSpc>
              <a:spcBef>
                <a:spcPts val="0"/>
              </a:spcBef>
              <a:buNone/>
              <a:defRPr sz="2400">
                <a:solidFill>
                  <a:schemeClr val="accent5"/>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600">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600">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600">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600">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dirty="0"/>
              <a:t>Click to edit title 2</a:t>
            </a:r>
          </a:p>
        </p:txBody>
      </p:sp>
      <p:sp>
        <p:nvSpPr>
          <p:cNvPr id="42" name="Text Placeholder 2">
            <a:extLst>
              <a:ext uri="{FF2B5EF4-FFF2-40B4-BE49-F238E27FC236}">
                <a16:creationId xmlns:a16="http://schemas.microsoft.com/office/drawing/2014/main" id="{D4BE545A-885A-4FB0-9AC1-68F1338DD961}"/>
              </a:ext>
            </a:extLst>
          </p:cNvPr>
          <p:cNvSpPr>
            <a:spLocks noGrp="1"/>
          </p:cNvSpPr>
          <p:nvPr>
            <p:ph type="body" sz="quarter" idx="21" hasCustomPrompt="1"/>
          </p:nvPr>
        </p:nvSpPr>
        <p:spPr>
          <a:xfrm>
            <a:off x="1050124" y="3490530"/>
            <a:ext cx="4572000" cy="457200"/>
          </a:xfrm>
          <a:prstGeom prst="rect">
            <a:avLst/>
          </a:prstGeom>
        </p:spPr>
        <p:txBody>
          <a:bodyPr anchor="ctr"/>
          <a:lstStyle>
            <a:lvl1pPr marL="0" indent="0">
              <a:lnSpc>
                <a:spcPct val="100000"/>
              </a:lnSpc>
              <a:spcBef>
                <a:spcPts val="0"/>
              </a:spcBef>
              <a:buNone/>
              <a:defRPr sz="2400">
                <a:solidFill>
                  <a:schemeClr val="accent5"/>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600">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600">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600">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600">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dirty="0"/>
              <a:t>Click to edit title 3</a:t>
            </a:r>
          </a:p>
        </p:txBody>
      </p:sp>
      <p:sp>
        <p:nvSpPr>
          <p:cNvPr id="43" name="Text Placeholder 2">
            <a:extLst>
              <a:ext uri="{FF2B5EF4-FFF2-40B4-BE49-F238E27FC236}">
                <a16:creationId xmlns:a16="http://schemas.microsoft.com/office/drawing/2014/main" id="{7F5E2992-1413-4CEA-8A9B-6F4768CAB2E7}"/>
              </a:ext>
            </a:extLst>
          </p:cNvPr>
          <p:cNvSpPr>
            <a:spLocks noGrp="1"/>
          </p:cNvSpPr>
          <p:nvPr>
            <p:ph type="body" sz="quarter" idx="23" hasCustomPrompt="1"/>
          </p:nvPr>
        </p:nvSpPr>
        <p:spPr>
          <a:xfrm>
            <a:off x="6796213" y="3491165"/>
            <a:ext cx="4572000" cy="457200"/>
          </a:xfrm>
          <a:prstGeom prst="rect">
            <a:avLst/>
          </a:prstGeom>
        </p:spPr>
        <p:txBody>
          <a:bodyPr anchor="ctr"/>
          <a:lstStyle>
            <a:lvl1pPr marL="0" indent="0">
              <a:lnSpc>
                <a:spcPct val="100000"/>
              </a:lnSpc>
              <a:spcBef>
                <a:spcPts val="0"/>
              </a:spcBef>
              <a:buNone/>
              <a:defRPr sz="2400">
                <a:solidFill>
                  <a:schemeClr val="accent5"/>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600">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600">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600">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600">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dirty="0"/>
              <a:t>Click to edit title 4</a:t>
            </a:r>
          </a:p>
        </p:txBody>
      </p:sp>
      <p:sp>
        <p:nvSpPr>
          <p:cNvPr id="50" name="Text Placeholder 2">
            <a:extLst>
              <a:ext uri="{FF2B5EF4-FFF2-40B4-BE49-F238E27FC236}">
                <a16:creationId xmlns:a16="http://schemas.microsoft.com/office/drawing/2014/main" id="{F4365CE5-92D6-4E85-BF8A-2B551C2EE951}"/>
              </a:ext>
            </a:extLst>
          </p:cNvPr>
          <p:cNvSpPr>
            <a:spLocks noGrp="1"/>
          </p:cNvSpPr>
          <p:nvPr>
            <p:ph type="body" sz="quarter" idx="27" hasCustomPrompt="1"/>
          </p:nvPr>
        </p:nvSpPr>
        <p:spPr>
          <a:xfrm>
            <a:off x="1050124" y="4902322"/>
            <a:ext cx="4572000" cy="457200"/>
          </a:xfrm>
          <a:prstGeom prst="rect">
            <a:avLst/>
          </a:prstGeom>
        </p:spPr>
        <p:txBody>
          <a:bodyPr anchor="ctr"/>
          <a:lstStyle>
            <a:lvl1pPr marL="0" indent="0">
              <a:lnSpc>
                <a:spcPct val="100000"/>
              </a:lnSpc>
              <a:spcBef>
                <a:spcPts val="0"/>
              </a:spcBef>
              <a:buNone/>
              <a:defRPr sz="2400">
                <a:solidFill>
                  <a:schemeClr val="accent5"/>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600">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600">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600">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600">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dirty="0"/>
              <a:t>Click to edit title 5</a:t>
            </a:r>
          </a:p>
        </p:txBody>
      </p:sp>
      <p:sp>
        <p:nvSpPr>
          <p:cNvPr id="51" name="Text Placeholder 2">
            <a:extLst>
              <a:ext uri="{FF2B5EF4-FFF2-40B4-BE49-F238E27FC236}">
                <a16:creationId xmlns:a16="http://schemas.microsoft.com/office/drawing/2014/main" id="{777898FC-A9A2-4154-B5F7-FD8374365A3A}"/>
              </a:ext>
            </a:extLst>
          </p:cNvPr>
          <p:cNvSpPr>
            <a:spLocks noGrp="1"/>
          </p:cNvSpPr>
          <p:nvPr>
            <p:ph type="body" sz="quarter" idx="28" hasCustomPrompt="1"/>
          </p:nvPr>
        </p:nvSpPr>
        <p:spPr>
          <a:xfrm>
            <a:off x="6796213" y="4902957"/>
            <a:ext cx="4572000" cy="457200"/>
          </a:xfrm>
          <a:prstGeom prst="rect">
            <a:avLst/>
          </a:prstGeom>
        </p:spPr>
        <p:txBody>
          <a:bodyPr anchor="ctr"/>
          <a:lstStyle>
            <a:lvl1pPr marL="0" indent="0">
              <a:lnSpc>
                <a:spcPct val="100000"/>
              </a:lnSpc>
              <a:spcBef>
                <a:spcPts val="0"/>
              </a:spcBef>
              <a:buNone/>
              <a:defRPr sz="2400">
                <a:solidFill>
                  <a:schemeClr val="accent5"/>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600">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600">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600">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600">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dirty="0"/>
              <a:t>Click to edit title 6</a:t>
            </a:r>
          </a:p>
        </p:txBody>
      </p:sp>
      <p:sp>
        <p:nvSpPr>
          <p:cNvPr id="11" name="TextBox 7">
            <a:extLst>
              <a:ext uri="{FF2B5EF4-FFF2-40B4-BE49-F238E27FC236}">
                <a16:creationId xmlns:a16="http://schemas.microsoft.com/office/drawing/2014/main" id="{61F86F39-BE0D-4C5A-8AD2-5D54F74653E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10">
            <a:extLst>
              <a:ext uri="{FF2B5EF4-FFF2-40B4-BE49-F238E27FC236}">
                <a16:creationId xmlns:a16="http://schemas.microsoft.com/office/drawing/2014/main" id="{1F513D15-19C5-4272-BD4F-9B1DD096E1AA}"/>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3" name="Text Placeholder 2">
            <a:extLst>
              <a:ext uri="{FF2B5EF4-FFF2-40B4-BE49-F238E27FC236}">
                <a16:creationId xmlns:a16="http://schemas.microsoft.com/office/drawing/2014/main" id="{9098E624-FDA2-495E-8E2A-8928D340F7F8}"/>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13461469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775A7B-872C-4B67-84CC-F798247798B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934260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Subtitle Only">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5" name="TextBox 7">
            <a:extLst>
              <a:ext uri="{FF2B5EF4-FFF2-40B4-BE49-F238E27FC236}">
                <a16:creationId xmlns:a16="http://schemas.microsoft.com/office/drawing/2014/main" id="{29A9462F-E814-4E4E-8499-9B13B09D0153}"/>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084391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Subtitle Only - No hash mark">
    <p:spTree>
      <p:nvGrpSpPr>
        <p:cNvPr id="1" name=""/>
        <p:cNvGrpSpPr/>
        <p:nvPr/>
      </p:nvGrpSpPr>
      <p:grpSpPr>
        <a:xfrm>
          <a:off x="0" y="0"/>
          <a:ext cx="0" cy="0"/>
          <a:chOff x="0" y="0"/>
          <a:chExt cx="0" cy="0"/>
        </a:xfrm>
      </p:grpSpPr>
      <p:sp>
        <p:nvSpPr>
          <p:cNvPr id="4" name="TextBox 7">
            <a:extLst>
              <a:ext uri="{FF2B5EF4-FFF2-40B4-BE49-F238E27FC236}">
                <a16:creationId xmlns:a16="http://schemas.microsoft.com/office/drawing/2014/main" id="{0F35F26E-8F6C-442F-9C7F-C91EF05BB1E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10">
            <a:extLst>
              <a:ext uri="{FF2B5EF4-FFF2-40B4-BE49-F238E27FC236}">
                <a16:creationId xmlns:a16="http://schemas.microsoft.com/office/drawing/2014/main" id="{035EFF25-B11C-47B9-AFFD-130CF0A58D4E}"/>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6" name="Text Placeholder 2">
            <a:extLst>
              <a:ext uri="{FF2B5EF4-FFF2-40B4-BE49-F238E27FC236}">
                <a16:creationId xmlns:a16="http://schemas.microsoft.com/office/drawing/2014/main" id="{599682EB-F2C8-4D86-9A5E-BAD2880AA019}"/>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11659551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Title/Subtitle with on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6" name="TextBox 7">
            <a:extLst>
              <a:ext uri="{FF2B5EF4-FFF2-40B4-BE49-F238E27FC236}">
                <a16:creationId xmlns:a16="http://schemas.microsoft.com/office/drawing/2014/main" id="{AAE029AB-D958-4E89-915B-8DED81BF7910}"/>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Text Placeholder 10">
            <a:extLst>
              <a:ext uri="{FF2B5EF4-FFF2-40B4-BE49-F238E27FC236}">
                <a16:creationId xmlns:a16="http://schemas.microsoft.com/office/drawing/2014/main" id="{34DF4B3B-76DE-4218-8EF4-80F1FD55C3C7}"/>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9" name="Text Placeholder 2">
            <a:extLst>
              <a:ext uri="{FF2B5EF4-FFF2-40B4-BE49-F238E27FC236}">
                <a16:creationId xmlns:a16="http://schemas.microsoft.com/office/drawing/2014/main" id="{1037AAE3-86E1-444E-87B3-6232A04AD63E}"/>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33630272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Subtitle with one column - No hash mark">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745B10C7-E604-4688-9A92-ACC022799AA1}"/>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Text Placeholder 10">
            <a:extLst>
              <a:ext uri="{FF2B5EF4-FFF2-40B4-BE49-F238E27FC236}">
                <a16:creationId xmlns:a16="http://schemas.microsoft.com/office/drawing/2014/main" id="{EF2E5BB1-4DC9-499E-899B-16B78220BF7E}"/>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BC75E2C0-DFE3-460E-AD8E-2875C227FE86}"/>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9" name="Content Placeholder 7">
            <a:extLst>
              <a:ext uri="{FF2B5EF4-FFF2-40B4-BE49-F238E27FC236}">
                <a16:creationId xmlns:a16="http://schemas.microsoft.com/office/drawing/2014/main" id="{098AA22F-CCA2-427B-9ECC-4200B769205B}"/>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685139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Subtitle with two column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9" name="TextBox 7">
            <a:extLst>
              <a:ext uri="{FF2B5EF4-FFF2-40B4-BE49-F238E27FC236}">
                <a16:creationId xmlns:a16="http://schemas.microsoft.com/office/drawing/2014/main" id="{9CAD1A4A-F0F3-4148-B7DA-1E86D853A733}"/>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Text Placeholder 10">
            <a:extLst>
              <a:ext uri="{FF2B5EF4-FFF2-40B4-BE49-F238E27FC236}">
                <a16:creationId xmlns:a16="http://schemas.microsoft.com/office/drawing/2014/main" id="{DA62BB27-3C36-4D7A-B82E-6EE9F1FC91BE}"/>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1" name="Text Placeholder 2">
            <a:extLst>
              <a:ext uri="{FF2B5EF4-FFF2-40B4-BE49-F238E27FC236}">
                <a16:creationId xmlns:a16="http://schemas.microsoft.com/office/drawing/2014/main" id="{45B00B64-88B7-40D5-90A1-37981D35382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400562857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Subtitle with two columns - No hash mark">
    <p:spTree>
      <p:nvGrpSpPr>
        <p:cNvPr id="1" name=""/>
        <p:cNvGrpSpPr/>
        <p:nvPr/>
      </p:nvGrpSpPr>
      <p:grpSpPr>
        <a:xfrm>
          <a:off x="0" y="0"/>
          <a:ext cx="0" cy="0"/>
          <a:chOff x="0" y="0"/>
          <a:chExt cx="0" cy="0"/>
        </a:xfrm>
      </p:grpSpPr>
      <p:sp>
        <p:nvSpPr>
          <p:cNvPr id="6" name="TextBox 7">
            <a:extLst>
              <a:ext uri="{FF2B5EF4-FFF2-40B4-BE49-F238E27FC236}">
                <a16:creationId xmlns:a16="http://schemas.microsoft.com/office/drawing/2014/main" id="{85D50858-C643-459A-81F6-775024D3356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 Placeholder 10">
            <a:extLst>
              <a:ext uri="{FF2B5EF4-FFF2-40B4-BE49-F238E27FC236}">
                <a16:creationId xmlns:a16="http://schemas.microsoft.com/office/drawing/2014/main" id="{9FB98A06-2F7D-4632-8076-820D90FF2DF1}"/>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0" name="Text Placeholder 2">
            <a:extLst>
              <a:ext uri="{FF2B5EF4-FFF2-40B4-BE49-F238E27FC236}">
                <a16:creationId xmlns:a16="http://schemas.microsoft.com/office/drawing/2014/main" id="{5A0CF6D7-288F-42D9-BF97-F675CF2AEE13}"/>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1" name="Text Placeholder 2">
            <a:extLst>
              <a:ext uri="{FF2B5EF4-FFF2-40B4-BE49-F238E27FC236}">
                <a16:creationId xmlns:a16="http://schemas.microsoft.com/office/drawing/2014/main" id="{92A6CFFD-F0E5-4258-ACD8-2CC590367820}"/>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Text Placeholder 2">
            <a:extLst>
              <a:ext uri="{FF2B5EF4-FFF2-40B4-BE49-F238E27FC236}">
                <a16:creationId xmlns:a16="http://schemas.microsoft.com/office/drawing/2014/main" id="{0B70C389-9506-4CA9-9673-4FE720D4C554}"/>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9409488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Overview with image on righ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Box 7">
            <a:extLst>
              <a:ext uri="{FF2B5EF4-FFF2-40B4-BE49-F238E27FC236}">
                <a16:creationId xmlns:a16="http://schemas.microsoft.com/office/drawing/2014/main" id="{C899CC5B-454A-4C53-B066-DD45D4897F4A}"/>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1784489"/>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A6C47CC-0B48-799E-BDD9-79F72E486C27}"/>
              </a:ext>
            </a:extLst>
          </p:cNvPr>
          <p:cNvSpPr>
            <a:spLocks noGrp="1"/>
          </p:cNvSpPr>
          <p:nvPr>
            <p:ph type="pic" sz="quarter" idx="10"/>
          </p:nvPr>
        </p:nvSpPr>
        <p:spPr>
          <a:xfrm>
            <a:off x="0" y="0"/>
            <a:ext cx="12192000" cy="2286000"/>
          </a:xfrm>
          <a:prstGeom prst="rect">
            <a:avLst/>
          </a:prstGeom>
          <a:solidFill>
            <a:schemeClr val="bg1">
              <a:lumMod val="85000"/>
            </a:schemeClr>
          </a:solidFill>
        </p:spPr>
        <p:txBody>
          <a:bodyPr anchor="ctr"/>
          <a:lstStyle>
            <a:lvl1pPr marL="0" indent="0" algn="ctr">
              <a:buNone/>
              <a:defRPr>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dirty="0"/>
          </a:p>
        </p:txBody>
      </p:sp>
      <p:sp>
        <p:nvSpPr>
          <p:cNvPr id="6" name="Text Placeholder 10">
            <a:extLst>
              <a:ext uri="{FF2B5EF4-FFF2-40B4-BE49-F238E27FC236}">
                <a16:creationId xmlns:a16="http://schemas.microsoft.com/office/drawing/2014/main" id="{7ED3C8FC-6C9B-0385-9B13-EB5FC3861B01}"/>
              </a:ext>
            </a:extLst>
          </p:cNvPr>
          <p:cNvSpPr>
            <a:spLocks noGrp="1"/>
          </p:cNvSpPr>
          <p:nvPr>
            <p:ph type="body" sz="quarter" idx="15" hasCustomPrompt="1"/>
          </p:nvPr>
        </p:nvSpPr>
        <p:spPr>
          <a:xfrm>
            <a:off x="390331" y="478997"/>
            <a:ext cx="6315269" cy="502920"/>
          </a:xfrm>
          <a:prstGeom prst="rect">
            <a:avLst/>
          </a:prstGeom>
        </p:spPr>
        <p:txBody>
          <a:bodyPr anchor="ctr">
            <a:noAutofit/>
          </a:bodyPr>
          <a:lstStyle>
            <a:lvl1pPr marL="0" indent="0" algn="l">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991E6E84-81E6-1746-2197-66428E38FD7A}"/>
              </a:ext>
            </a:extLst>
          </p:cNvPr>
          <p:cNvSpPr>
            <a:spLocks noGrp="1"/>
          </p:cNvSpPr>
          <p:nvPr>
            <p:ph type="body" sz="quarter" idx="16" hasCustomPrompt="1"/>
          </p:nvPr>
        </p:nvSpPr>
        <p:spPr>
          <a:xfrm>
            <a:off x="390331" y="1712695"/>
            <a:ext cx="6626289" cy="274320"/>
          </a:xfrm>
          <a:prstGeom prst="rect">
            <a:avLst/>
          </a:prstGeom>
        </p:spPr>
        <p:txBody>
          <a:bodyPr anchor="ctr">
            <a:noAutofit/>
          </a:bodyPr>
          <a:lstStyle>
            <a:lvl1pPr marL="0" indent="0" algn="l">
              <a:lnSpc>
                <a:spcPct val="100000"/>
              </a:lnSpc>
              <a:spcBef>
                <a:spcPts val="0"/>
              </a:spcBef>
              <a:buNone/>
              <a:defRPr sz="1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cxnSp>
        <p:nvCxnSpPr>
          <p:cNvPr id="5" name="Straight Connector 4">
            <a:extLst>
              <a:ext uri="{FF2B5EF4-FFF2-40B4-BE49-F238E27FC236}">
                <a16:creationId xmlns:a16="http://schemas.microsoft.com/office/drawing/2014/main" id="{1628D026-DE32-5C46-2389-4E8836D91042}"/>
              </a:ext>
            </a:extLst>
          </p:cNvPr>
          <p:cNvCxnSpPr/>
          <p:nvPr userDrawn="1"/>
        </p:nvCxnSpPr>
        <p:spPr>
          <a:xfrm>
            <a:off x="530286" y="1483893"/>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918367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verview with image on lef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6096000" y="628650"/>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Box 7">
            <a:extLst>
              <a:ext uri="{FF2B5EF4-FFF2-40B4-BE49-F238E27FC236}">
                <a16:creationId xmlns:a16="http://schemas.microsoft.com/office/drawing/2014/main" id="{E8364F7B-F629-4ACC-8B10-4E9666E80BC3}"/>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0842188"/>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Subtitle Left Arrow - One column">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6148C1-F56C-4733-95D5-44651A2C9B69}"/>
              </a:ext>
            </a:extLst>
          </p:cNvPr>
          <p:cNvGrpSpPr/>
          <p:nvPr userDrawn="1"/>
        </p:nvGrpSpPr>
        <p:grpSpPr>
          <a:xfrm>
            <a:off x="1"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155895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30165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30165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4953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Box 7">
            <a:extLst>
              <a:ext uri="{FF2B5EF4-FFF2-40B4-BE49-F238E27FC236}">
                <a16:creationId xmlns:a16="http://schemas.microsoft.com/office/drawing/2014/main" id="{951FEA0A-E44A-446B-8530-16AD68991D96}"/>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742091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Subtitle Right Arrow - One column">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871C5A8-BF00-4218-8472-981FFC28BD65}"/>
              </a:ext>
            </a:extLst>
          </p:cNvPr>
          <p:cNvGrpSpPr/>
          <p:nvPr userDrawn="1"/>
        </p:nvGrpSpPr>
        <p:grpSpPr>
          <a:xfrm>
            <a:off x="7892272" y="0"/>
            <a:ext cx="4299728" cy="6858000"/>
            <a:chOff x="7892272" y="0"/>
            <a:chExt cx="4299728" cy="6858000"/>
          </a:xfrm>
        </p:grpSpPr>
        <p:sp>
          <p:nvSpPr>
            <p:cNvPr id="3" name="Rectangle 2">
              <a:extLst>
                <a:ext uri="{FF2B5EF4-FFF2-40B4-BE49-F238E27FC236}">
                  <a16:creationId xmlns:a16="http://schemas.microsoft.com/office/drawing/2014/main" id="{662A5C94-8B2E-4F87-A64D-A44FF3BA6F39}"/>
                </a:ext>
              </a:extLst>
            </p:cNvPr>
            <p:cNvSpPr/>
            <p:nvPr userDrawn="1"/>
          </p:nvSpPr>
          <p:spPr>
            <a:xfrm>
              <a:off x="8610600" y="6476214"/>
              <a:ext cx="571107" cy="216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26148C1-F56C-4733-95D5-44651A2C9B69}"/>
                </a:ext>
              </a:extLst>
            </p:cNvPr>
            <p:cNvGrpSpPr/>
            <p:nvPr userDrawn="1"/>
          </p:nvGrpSpPr>
          <p:grpSpPr>
            <a:xfrm flipH="1">
              <a:off x="7892272"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986790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861060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861060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381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TextBox 7">
            <a:extLst>
              <a:ext uri="{FF2B5EF4-FFF2-40B4-BE49-F238E27FC236}">
                <a16:creationId xmlns:a16="http://schemas.microsoft.com/office/drawing/2014/main" id="{4C18FC3D-B81E-4563-8476-80F5C6E06E1D}"/>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47858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ur attorney team">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ADE59870-FA01-4917-A7F1-7ED22B21E64B}"/>
              </a:ext>
            </a:extLst>
          </p:cNvPr>
          <p:cNvSpPr>
            <a:spLocks noGrp="1"/>
          </p:cNvSpPr>
          <p:nvPr>
            <p:ph type="pic" sz="quarter" idx="68"/>
          </p:nvPr>
        </p:nvSpPr>
        <p:spPr>
          <a:xfrm>
            <a:off x="1076228"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1" name="Text Placeholder 27">
            <a:extLst>
              <a:ext uri="{FF2B5EF4-FFF2-40B4-BE49-F238E27FC236}">
                <a16:creationId xmlns:a16="http://schemas.microsoft.com/office/drawing/2014/main" id="{97A26C40-36F9-4050-A037-AAA9AF17AFAC}"/>
              </a:ext>
            </a:extLst>
          </p:cNvPr>
          <p:cNvSpPr>
            <a:spLocks noGrp="1"/>
          </p:cNvSpPr>
          <p:nvPr>
            <p:ph type="body" sz="quarter" idx="28" hasCustomPrompt="1"/>
          </p:nvPr>
        </p:nvSpPr>
        <p:spPr>
          <a:xfrm>
            <a:off x="390428"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2" name="Text Placeholder 27">
            <a:extLst>
              <a:ext uri="{FF2B5EF4-FFF2-40B4-BE49-F238E27FC236}">
                <a16:creationId xmlns:a16="http://schemas.microsoft.com/office/drawing/2014/main" id="{F426880D-0B8A-4915-B6F2-A2AC69254AF3}"/>
              </a:ext>
            </a:extLst>
          </p:cNvPr>
          <p:cNvSpPr>
            <a:spLocks noGrp="1"/>
          </p:cNvSpPr>
          <p:nvPr>
            <p:ph type="body" sz="quarter" idx="29" hasCustomPrompt="1"/>
          </p:nvPr>
        </p:nvSpPr>
        <p:spPr>
          <a:xfrm>
            <a:off x="3279321"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3" name="Text Placeholder 27">
            <a:extLst>
              <a:ext uri="{FF2B5EF4-FFF2-40B4-BE49-F238E27FC236}">
                <a16:creationId xmlns:a16="http://schemas.microsoft.com/office/drawing/2014/main" id="{9911E403-AFBC-4E75-A8D4-47C8627097FE}"/>
              </a:ext>
            </a:extLst>
          </p:cNvPr>
          <p:cNvSpPr>
            <a:spLocks noGrp="1"/>
          </p:cNvSpPr>
          <p:nvPr>
            <p:ph type="body" sz="quarter" idx="30" hasCustomPrompt="1"/>
          </p:nvPr>
        </p:nvSpPr>
        <p:spPr>
          <a:xfrm>
            <a:off x="6168117"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4" name="Text Placeholder 27">
            <a:extLst>
              <a:ext uri="{FF2B5EF4-FFF2-40B4-BE49-F238E27FC236}">
                <a16:creationId xmlns:a16="http://schemas.microsoft.com/office/drawing/2014/main" id="{5257D8A0-3473-499A-9B83-A493336CF7FB}"/>
              </a:ext>
            </a:extLst>
          </p:cNvPr>
          <p:cNvSpPr>
            <a:spLocks noGrp="1"/>
          </p:cNvSpPr>
          <p:nvPr>
            <p:ph type="body" sz="quarter" idx="31" hasCustomPrompt="1"/>
          </p:nvPr>
        </p:nvSpPr>
        <p:spPr>
          <a:xfrm>
            <a:off x="9056914"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5" name="Picture Placeholder 7">
            <a:extLst>
              <a:ext uri="{FF2B5EF4-FFF2-40B4-BE49-F238E27FC236}">
                <a16:creationId xmlns:a16="http://schemas.microsoft.com/office/drawing/2014/main" id="{A8935422-98DE-4953-81B9-EEAD81C741BB}"/>
              </a:ext>
            </a:extLst>
          </p:cNvPr>
          <p:cNvSpPr>
            <a:spLocks noGrp="1"/>
          </p:cNvSpPr>
          <p:nvPr>
            <p:ph type="pic" sz="quarter" idx="69"/>
          </p:nvPr>
        </p:nvSpPr>
        <p:spPr>
          <a:xfrm>
            <a:off x="3965057"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6" name="Picture Placeholder 7">
            <a:extLst>
              <a:ext uri="{FF2B5EF4-FFF2-40B4-BE49-F238E27FC236}">
                <a16:creationId xmlns:a16="http://schemas.microsoft.com/office/drawing/2014/main" id="{685D4BDA-3A30-439A-B3EA-1CFCC97F6580}"/>
              </a:ext>
            </a:extLst>
          </p:cNvPr>
          <p:cNvSpPr>
            <a:spLocks noGrp="1"/>
          </p:cNvSpPr>
          <p:nvPr>
            <p:ph type="pic" sz="quarter" idx="70"/>
          </p:nvPr>
        </p:nvSpPr>
        <p:spPr>
          <a:xfrm>
            <a:off x="6853886"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7" name="Picture Placeholder 7">
            <a:extLst>
              <a:ext uri="{FF2B5EF4-FFF2-40B4-BE49-F238E27FC236}">
                <a16:creationId xmlns:a16="http://schemas.microsoft.com/office/drawing/2014/main" id="{A00DF56A-B640-4D0B-8148-92BAAC6C07BC}"/>
              </a:ext>
            </a:extLst>
          </p:cNvPr>
          <p:cNvSpPr>
            <a:spLocks noGrp="1"/>
          </p:cNvSpPr>
          <p:nvPr>
            <p:ph type="pic" sz="quarter" idx="71"/>
          </p:nvPr>
        </p:nvSpPr>
        <p:spPr>
          <a:xfrm>
            <a:off x="9742714"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cxnSp>
        <p:nvCxnSpPr>
          <p:cNvPr id="19" name="Straight Connector 18">
            <a:extLst>
              <a:ext uri="{FF2B5EF4-FFF2-40B4-BE49-F238E27FC236}">
                <a16:creationId xmlns:a16="http://schemas.microsoft.com/office/drawing/2014/main" id="{711843B2-8C8F-44A3-BBD8-2EBE1DA50BA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Box 7">
            <a:extLst>
              <a:ext uri="{FF2B5EF4-FFF2-40B4-BE49-F238E27FC236}">
                <a16:creationId xmlns:a16="http://schemas.microsoft.com/office/drawing/2014/main" id="{CDD8E9F9-E7DB-4A69-BACC-AF6CB1EF265A}"/>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Text Placeholder 10">
            <a:extLst>
              <a:ext uri="{FF2B5EF4-FFF2-40B4-BE49-F238E27FC236}">
                <a16:creationId xmlns:a16="http://schemas.microsoft.com/office/drawing/2014/main" id="{6805A5B9-CF42-4645-9371-77BB0F6F151C}"/>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5" name="Text Placeholder 2">
            <a:extLst>
              <a:ext uri="{FF2B5EF4-FFF2-40B4-BE49-F238E27FC236}">
                <a16:creationId xmlns:a16="http://schemas.microsoft.com/office/drawing/2014/main" id="{C94ACBBB-42D3-4E0D-9089-3AC7895D841B}"/>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330601024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ix Rep Matters">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39C3241E-0248-4FD0-A411-E8D8CEB18769}"/>
              </a:ext>
            </a:extLst>
          </p:cNvPr>
          <p:cNvSpPr>
            <a:spLocks noGrp="1"/>
          </p:cNvSpPr>
          <p:nvPr>
            <p:ph type="pic" sz="quarter" idx="11" hasCustomPrompt="1"/>
          </p:nvPr>
        </p:nvSpPr>
        <p:spPr>
          <a:xfrm>
            <a:off x="390331" y="1617952"/>
            <a:ext cx="3657600" cy="1005840"/>
          </a:xfrm>
          <a:prstGeom prst="rect">
            <a:avLst/>
          </a:prstGeom>
          <a:solidFill>
            <a:schemeClr val="bg1">
              <a:lumMod val="95000"/>
            </a:schemeClr>
          </a:solidFill>
        </p:spPr>
        <p:txBody>
          <a:bodyPr anchor="ctr"/>
          <a:lstStyle>
            <a:lvl1pPr marL="0" indent="0" algn="ctr">
              <a:buNone/>
              <a:defRPr sz="2400">
                <a:solidFill>
                  <a:schemeClr val="bg1">
                    <a:lumMod val="75000"/>
                  </a:schemeClr>
                </a:solidFill>
              </a:defRPr>
            </a:lvl1pPr>
          </a:lstStyle>
          <a:p>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5" name="Picture Placeholder 37">
            <a:extLst>
              <a:ext uri="{FF2B5EF4-FFF2-40B4-BE49-F238E27FC236}">
                <a16:creationId xmlns:a16="http://schemas.microsoft.com/office/drawing/2014/main" id="{F94DD322-BCC5-4552-91D7-9824DCBC8750}"/>
              </a:ext>
            </a:extLst>
          </p:cNvPr>
          <p:cNvSpPr>
            <a:spLocks noGrp="1"/>
          </p:cNvSpPr>
          <p:nvPr>
            <p:ph type="pic" sz="quarter" idx="17" hasCustomPrompt="1"/>
          </p:nvPr>
        </p:nvSpPr>
        <p:spPr>
          <a:xfrm>
            <a:off x="42765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7" name="Picture Placeholder 37">
            <a:extLst>
              <a:ext uri="{FF2B5EF4-FFF2-40B4-BE49-F238E27FC236}">
                <a16:creationId xmlns:a16="http://schemas.microsoft.com/office/drawing/2014/main" id="{38849EE0-04FA-45BB-B7D7-DF5BC2E7A74C}"/>
              </a:ext>
            </a:extLst>
          </p:cNvPr>
          <p:cNvSpPr>
            <a:spLocks noGrp="1"/>
          </p:cNvSpPr>
          <p:nvPr>
            <p:ph type="pic" sz="quarter" idx="19" hasCustomPrompt="1"/>
          </p:nvPr>
        </p:nvSpPr>
        <p:spPr>
          <a:xfrm>
            <a:off x="81627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0" name="Text Placeholder 27">
            <a:extLst>
              <a:ext uri="{FF2B5EF4-FFF2-40B4-BE49-F238E27FC236}">
                <a16:creationId xmlns:a16="http://schemas.microsoft.com/office/drawing/2014/main" id="{CD467619-55C3-4742-80C4-BB51BE9D4554}"/>
              </a:ext>
            </a:extLst>
          </p:cNvPr>
          <p:cNvSpPr>
            <a:spLocks noGrp="1"/>
          </p:cNvSpPr>
          <p:nvPr>
            <p:ph type="body" sz="quarter" idx="20" hasCustomPrompt="1"/>
          </p:nvPr>
        </p:nvSpPr>
        <p:spPr>
          <a:xfrm>
            <a:off x="390525"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1" name="Text Placeholder 27">
            <a:extLst>
              <a:ext uri="{FF2B5EF4-FFF2-40B4-BE49-F238E27FC236}">
                <a16:creationId xmlns:a16="http://schemas.microsoft.com/office/drawing/2014/main" id="{9FFA7C56-5235-456F-A55D-D2423BCAD92A}"/>
              </a:ext>
            </a:extLst>
          </p:cNvPr>
          <p:cNvSpPr>
            <a:spLocks noGrp="1"/>
          </p:cNvSpPr>
          <p:nvPr>
            <p:ph type="body" sz="quarter" idx="21" hasCustomPrompt="1"/>
          </p:nvPr>
        </p:nvSpPr>
        <p:spPr>
          <a:xfrm>
            <a:off x="4276628"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3" name="Text Placeholder 27">
            <a:extLst>
              <a:ext uri="{FF2B5EF4-FFF2-40B4-BE49-F238E27FC236}">
                <a16:creationId xmlns:a16="http://schemas.microsoft.com/office/drawing/2014/main" id="{A3C8A936-56B8-4185-A261-8C1B6BBB4617}"/>
              </a:ext>
            </a:extLst>
          </p:cNvPr>
          <p:cNvSpPr>
            <a:spLocks noGrp="1"/>
          </p:cNvSpPr>
          <p:nvPr>
            <p:ph type="body" sz="quarter" idx="23" hasCustomPrompt="1"/>
          </p:nvPr>
        </p:nvSpPr>
        <p:spPr>
          <a:xfrm>
            <a:off x="8162731"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4" name="Picture Placeholder 37">
            <a:extLst>
              <a:ext uri="{FF2B5EF4-FFF2-40B4-BE49-F238E27FC236}">
                <a16:creationId xmlns:a16="http://schemas.microsoft.com/office/drawing/2014/main" id="{6D8138D3-69BB-4AD6-9F8C-44137E15D906}"/>
              </a:ext>
            </a:extLst>
          </p:cNvPr>
          <p:cNvSpPr>
            <a:spLocks noGrp="1"/>
          </p:cNvSpPr>
          <p:nvPr>
            <p:ph type="pic" sz="quarter" idx="24" hasCustomPrompt="1"/>
          </p:nvPr>
        </p:nvSpPr>
        <p:spPr>
          <a:xfrm>
            <a:off x="3903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5" name="Picture Placeholder 37">
            <a:extLst>
              <a:ext uri="{FF2B5EF4-FFF2-40B4-BE49-F238E27FC236}">
                <a16:creationId xmlns:a16="http://schemas.microsoft.com/office/drawing/2014/main" id="{C68F96D0-5879-48BE-A9CC-C8DEED25EA58}"/>
              </a:ext>
            </a:extLst>
          </p:cNvPr>
          <p:cNvSpPr>
            <a:spLocks noGrp="1"/>
          </p:cNvSpPr>
          <p:nvPr>
            <p:ph type="pic" sz="quarter" idx="25" hasCustomPrompt="1"/>
          </p:nvPr>
        </p:nvSpPr>
        <p:spPr>
          <a:xfrm>
            <a:off x="42765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7" name="Picture Placeholder 37">
            <a:extLst>
              <a:ext uri="{FF2B5EF4-FFF2-40B4-BE49-F238E27FC236}">
                <a16:creationId xmlns:a16="http://schemas.microsoft.com/office/drawing/2014/main" id="{F220ACE6-02F4-4AAF-8A08-7142312BF6D1}"/>
              </a:ext>
            </a:extLst>
          </p:cNvPr>
          <p:cNvSpPr>
            <a:spLocks noGrp="1"/>
          </p:cNvSpPr>
          <p:nvPr>
            <p:ph type="pic" sz="quarter" idx="27" hasCustomPrompt="1"/>
          </p:nvPr>
        </p:nvSpPr>
        <p:spPr>
          <a:xfrm>
            <a:off x="81627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8" name="Text Placeholder 27">
            <a:extLst>
              <a:ext uri="{FF2B5EF4-FFF2-40B4-BE49-F238E27FC236}">
                <a16:creationId xmlns:a16="http://schemas.microsoft.com/office/drawing/2014/main" id="{908E73A7-8AC1-47F5-9EEE-1E5FCD29801B}"/>
              </a:ext>
            </a:extLst>
          </p:cNvPr>
          <p:cNvSpPr>
            <a:spLocks noGrp="1"/>
          </p:cNvSpPr>
          <p:nvPr>
            <p:ph type="body" sz="quarter" idx="28" hasCustomPrompt="1"/>
          </p:nvPr>
        </p:nvSpPr>
        <p:spPr>
          <a:xfrm>
            <a:off x="390525"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4" name="Text Placeholder 27">
            <a:extLst>
              <a:ext uri="{FF2B5EF4-FFF2-40B4-BE49-F238E27FC236}">
                <a16:creationId xmlns:a16="http://schemas.microsoft.com/office/drawing/2014/main" id="{FCD347F6-6747-4557-A0A4-8A33407E5282}"/>
              </a:ext>
            </a:extLst>
          </p:cNvPr>
          <p:cNvSpPr>
            <a:spLocks noGrp="1"/>
          </p:cNvSpPr>
          <p:nvPr>
            <p:ph type="body" sz="quarter" idx="29" hasCustomPrompt="1"/>
          </p:nvPr>
        </p:nvSpPr>
        <p:spPr>
          <a:xfrm>
            <a:off x="4276628"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6" name="Text Placeholder 27">
            <a:extLst>
              <a:ext uri="{FF2B5EF4-FFF2-40B4-BE49-F238E27FC236}">
                <a16:creationId xmlns:a16="http://schemas.microsoft.com/office/drawing/2014/main" id="{DF242684-9C00-422E-863D-391CFCE36544}"/>
              </a:ext>
            </a:extLst>
          </p:cNvPr>
          <p:cNvSpPr>
            <a:spLocks noGrp="1"/>
          </p:cNvSpPr>
          <p:nvPr>
            <p:ph type="body" sz="quarter" idx="31" hasCustomPrompt="1"/>
          </p:nvPr>
        </p:nvSpPr>
        <p:spPr>
          <a:xfrm>
            <a:off x="8162731"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cxnSp>
        <p:nvCxnSpPr>
          <p:cNvPr id="39" name="Straight Connector 38">
            <a:extLst>
              <a:ext uri="{FF2B5EF4-FFF2-40B4-BE49-F238E27FC236}">
                <a16:creationId xmlns:a16="http://schemas.microsoft.com/office/drawing/2014/main" id="{9830C5ED-908B-4BB8-9F71-93DF39944B99}"/>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Box 7">
            <a:extLst>
              <a:ext uri="{FF2B5EF4-FFF2-40B4-BE49-F238E27FC236}">
                <a16:creationId xmlns:a16="http://schemas.microsoft.com/office/drawing/2014/main" id="{AA2E9ACF-149C-4AAA-AA71-35FCF4FDFB96}"/>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 Placeholder 10">
            <a:extLst>
              <a:ext uri="{FF2B5EF4-FFF2-40B4-BE49-F238E27FC236}">
                <a16:creationId xmlns:a16="http://schemas.microsoft.com/office/drawing/2014/main" id="{5ABE30F3-B29C-4BEC-A8C5-9DCAA2EF15A7}"/>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22" name="Text Placeholder 2">
            <a:extLst>
              <a:ext uri="{FF2B5EF4-FFF2-40B4-BE49-F238E27FC236}">
                <a16:creationId xmlns:a16="http://schemas.microsoft.com/office/drawing/2014/main" id="{BC6B22B7-D7D9-4F62-9B64-0CF354186627}"/>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17779398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ur items with image diamond">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62ECC6F-F329-4894-B30C-9DDF87D4C6B0}"/>
              </a:ext>
            </a:extLst>
          </p:cNvPr>
          <p:cNvSpPr>
            <a:spLocks noGrp="1"/>
          </p:cNvSpPr>
          <p:nvPr>
            <p:ph type="pic" sz="quarter" idx="10"/>
          </p:nvPr>
        </p:nvSpPr>
        <p:spPr>
          <a:xfrm>
            <a:off x="4995728" y="1654784"/>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dirty="0"/>
          </a:p>
        </p:txBody>
      </p:sp>
      <p:sp>
        <p:nvSpPr>
          <p:cNvPr id="18" name="Picture Placeholder 17">
            <a:extLst>
              <a:ext uri="{FF2B5EF4-FFF2-40B4-BE49-F238E27FC236}">
                <a16:creationId xmlns:a16="http://schemas.microsoft.com/office/drawing/2014/main" id="{8A961995-D4ED-4EA2-BDF8-2F805F6EDE8F}"/>
              </a:ext>
            </a:extLst>
          </p:cNvPr>
          <p:cNvSpPr>
            <a:spLocks noGrp="1"/>
          </p:cNvSpPr>
          <p:nvPr>
            <p:ph type="pic" sz="quarter" idx="11"/>
          </p:nvPr>
        </p:nvSpPr>
        <p:spPr>
          <a:xfrm>
            <a:off x="3845353"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19" name="Picture Placeholder 18">
            <a:extLst>
              <a:ext uri="{FF2B5EF4-FFF2-40B4-BE49-F238E27FC236}">
                <a16:creationId xmlns:a16="http://schemas.microsoft.com/office/drawing/2014/main" id="{6C31DF17-C531-4C0B-A8D1-30EC2E698BEB}"/>
              </a:ext>
            </a:extLst>
          </p:cNvPr>
          <p:cNvSpPr>
            <a:spLocks noGrp="1"/>
          </p:cNvSpPr>
          <p:nvPr>
            <p:ph type="pic" sz="quarter" idx="12"/>
          </p:nvPr>
        </p:nvSpPr>
        <p:spPr>
          <a:xfrm>
            <a:off x="6142655"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20" name="Picture Placeholder 19">
            <a:extLst>
              <a:ext uri="{FF2B5EF4-FFF2-40B4-BE49-F238E27FC236}">
                <a16:creationId xmlns:a16="http://schemas.microsoft.com/office/drawing/2014/main" id="{293F6089-7C17-41CF-98EF-CCF55D2C537C}"/>
              </a:ext>
            </a:extLst>
          </p:cNvPr>
          <p:cNvSpPr>
            <a:spLocks noGrp="1"/>
          </p:cNvSpPr>
          <p:nvPr>
            <p:ph type="pic" sz="quarter" idx="13"/>
          </p:nvPr>
        </p:nvSpPr>
        <p:spPr>
          <a:xfrm>
            <a:off x="4995728" y="3951512"/>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9" name="Text Placeholder 27">
            <a:extLst>
              <a:ext uri="{FF2B5EF4-FFF2-40B4-BE49-F238E27FC236}">
                <a16:creationId xmlns:a16="http://schemas.microsoft.com/office/drawing/2014/main" id="{6F31F507-3EE3-4E74-A3B3-829544666D5B}"/>
              </a:ext>
            </a:extLst>
          </p:cNvPr>
          <p:cNvSpPr>
            <a:spLocks noGrp="1"/>
          </p:cNvSpPr>
          <p:nvPr>
            <p:ph type="body" sz="quarter" idx="17" hasCustomPrompt="1"/>
          </p:nvPr>
        </p:nvSpPr>
        <p:spPr>
          <a:xfrm>
            <a:off x="390525" y="1786247"/>
            <a:ext cx="3200400" cy="1645920"/>
          </a:xfrm>
          <a:prstGeom prst="rect">
            <a:avLst/>
          </a:prstGeom>
        </p:spPr>
        <p:txBody>
          <a:bodyPr>
            <a:normAutofit/>
          </a:bodyPr>
          <a:lstStyle>
            <a:lvl1pPr marL="0" indent="0" algn="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0" name="Text Placeholder 27">
            <a:extLst>
              <a:ext uri="{FF2B5EF4-FFF2-40B4-BE49-F238E27FC236}">
                <a16:creationId xmlns:a16="http://schemas.microsoft.com/office/drawing/2014/main" id="{859FA3BB-CF44-4802-9948-D8B7CE113AED}"/>
              </a:ext>
            </a:extLst>
          </p:cNvPr>
          <p:cNvSpPr>
            <a:spLocks noGrp="1"/>
          </p:cNvSpPr>
          <p:nvPr>
            <p:ph type="body" sz="quarter" idx="18" hasCustomPrompt="1"/>
          </p:nvPr>
        </p:nvSpPr>
        <p:spPr>
          <a:xfrm>
            <a:off x="390525" y="3809450"/>
            <a:ext cx="3200400" cy="1645920"/>
          </a:xfrm>
          <a:prstGeom prst="rect">
            <a:avLst/>
          </a:prstGeom>
        </p:spPr>
        <p:txBody>
          <a:bodyPr>
            <a:normAutofit/>
          </a:bodyPr>
          <a:lstStyle>
            <a:lvl1pPr marL="0" indent="0" algn="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1" name="Text Placeholder 27">
            <a:extLst>
              <a:ext uri="{FF2B5EF4-FFF2-40B4-BE49-F238E27FC236}">
                <a16:creationId xmlns:a16="http://schemas.microsoft.com/office/drawing/2014/main" id="{E2A970B0-BEBC-40E3-96D3-D0403411ADAD}"/>
              </a:ext>
            </a:extLst>
          </p:cNvPr>
          <p:cNvSpPr>
            <a:spLocks noGrp="1"/>
          </p:cNvSpPr>
          <p:nvPr>
            <p:ph type="body" sz="quarter" idx="19" hasCustomPrompt="1"/>
          </p:nvPr>
        </p:nvSpPr>
        <p:spPr>
          <a:xfrm>
            <a:off x="8601075" y="1786247"/>
            <a:ext cx="3200400" cy="164592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2" name="Text Placeholder 27">
            <a:extLst>
              <a:ext uri="{FF2B5EF4-FFF2-40B4-BE49-F238E27FC236}">
                <a16:creationId xmlns:a16="http://schemas.microsoft.com/office/drawing/2014/main" id="{EF807731-E598-4EFB-BF1E-35A41D6EC435}"/>
              </a:ext>
            </a:extLst>
          </p:cNvPr>
          <p:cNvSpPr>
            <a:spLocks noGrp="1"/>
          </p:cNvSpPr>
          <p:nvPr>
            <p:ph type="body" sz="quarter" idx="20" hasCustomPrompt="1"/>
          </p:nvPr>
        </p:nvSpPr>
        <p:spPr>
          <a:xfrm>
            <a:off x="8601075" y="3809450"/>
            <a:ext cx="3200400" cy="164592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cxnSp>
        <p:nvCxnSpPr>
          <p:cNvPr id="23" name="Straight Connector 22">
            <a:extLst>
              <a:ext uri="{FF2B5EF4-FFF2-40B4-BE49-F238E27FC236}">
                <a16:creationId xmlns:a16="http://schemas.microsoft.com/office/drawing/2014/main" id="{EB9EBF97-CEAA-4220-9079-D063F58B2A8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Box 7">
            <a:extLst>
              <a:ext uri="{FF2B5EF4-FFF2-40B4-BE49-F238E27FC236}">
                <a16:creationId xmlns:a16="http://schemas.microsoft.com/office/drawing/2014/main" id="{FFA88831-031B-464E-960B-DCEA707D50EB}"/>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Text Placeholder 10">
            <a:extLst>
              <a:ext uri="{FF2B5EF4-FFF2-40B4-BE49-F238E27FC236}">
                <a16:creationId xmlns:a16="http://schemas.microsoft.com/office/drawing/2014/main" id="{A61A7F55-19B9-4499-A790-C44139D9AD6A}"/>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5" name="Text Placeholder 2">
            <a:extLst>
              <a:ext uri="{FF2B5EF4-FFF2-40B4-BE49-F238E27FC236}">
                <a16:creationId xmlns:a16="http://schemas.microsoft.com/office/drawing/2014/main" id="{4DCCF90A-06BD-4952-8587-1EB040A0E5AF}"/>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12674008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599242B-DEAB-4348-B5A9-CB4B425A43EB}"/>
              </a:ext>
            </a:extLst>
          </p:cNvPr>
          <p:cNvSpPr/>
          <p:nvPr userDrawn="1"/>
        </p:nvSpPr>
        <p:spPr>
          <a:xfrm>
            <a:off x="0" y="0"/>
            <a:ext cx="12192000" cy="6858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101">
            <a:extLst>
              <a:ext uri="{FF2B5EF4-FFF2-40B4-BE49-F238E27FC236}">
                <a16:creationId xmlns:a16="http://schemas.microsoft.com/office/drawing/2014/main" id="{09643811-0C74-4A01-BA81-61628ED0CD89}"/>
              </a:ext>
            </a:extLst>
          </p:cNvPr>
          <p:cNvSpPr>
            <a:spLocks noGrp="1"/>
          </p:cNvSpPr>
          <p:nvPr>
            <p:ph type="pic" sz="quarter" idx="10"/>
          </p:nvPr>
        </p:nvSpPr>
        <p:spPr>
          <a:xfrm>
            <a:off x="2451038" y="0"/>
            <a:ext cx="9740963" cy="6858000"/>
          </a:xfrm>
          <a:custGeom>
            <a:avLst/>
            <a:gdLst>
              <a:gd name="connsiteX0" fmla="*/ 981316 w 9740963"/>
              <a:gd name="connsiteY0" fmla="*/ 5930787 h 6858000"/>
              <a:gd name="connsiteX1" fmla="*/ 1117507 w 9740963"/>
              <a:gd name="connsiteY1" fmla="*/ 6066978 h 6858000"/>
              <a:gd name="connsiteX2" fmla="*/ 1117507 w 9740963"/>
              <a:gd name="connsiteY2" fmla="*/ 6066979 h 6858000"/>
              <a:gd name="connsiteX3" fmla="*/ 1117507 w 9740963"/>
              <a:gd name="connsiteY3" fmla="*/ 6858000 h 6858000"/>
              <a:gd name="connsiteX4" fmla="*/ 0 w 9740963"/>
              <a:gd name="connsiteY4" fmla="*/ 6858000 h 6858000"/>
              <a:gd name="connsiteX5" fmla="*/ 892104 w 9740963"/>
              <a:gd name="connsiteY5" fmla="*/ 5965897 h 6858000"/>
              <a:gd name="connsiteX6" fmla="*/ 928305 w 9740963"/>
              <a:gd name="connsiteY6" fmla="*/ 5941490 h 6858000"/>
              <a:gd name="connsiteX7" fmla="*/ 981316 w 9740963"/>
              <a:gd name="connsiteY7" fmla="*/ 5930787 h 6858000"/>
              <a:gd name="connsiteX8" fmla="*/ 9583907 w 9740963"/>
              <a:gd name="connsiteY8" fmla="*/ 5514803 h 6858000"/>
              <a:gd name="connsiteX9" fmla="*/ 9740963 w 9740963"/>
              <a:gd name="connsiteY9" fmla="*/ 5514803 h 6858000"/>
              <a:gd name="connsiteX10" fmla="*/ 9740963 w 9740963"/>
              <a:gd name="connsiteY10" fmla="*/ 6004147 h 6858000"/>
              <a:gd name="connsiteX11" fmla="*/ 9490281 w 9740963"/>
              <a:gd name="connsiteY11" fmla="*/ 5753466 h 6858000"/>
              <a:gd name="connsiteX12" fmla="*/ 9490279 w 9740963"/>
              <a:gd name="connsiteY12" fmla="*/ 5753464 h 6858000"/>
              <a:gd name="connsiteX13" fmla="*/ 9470329 w 9740963"/>
              <a:gd name="connsiteY13" fmla="*/ 5733515 h 6858000"/>
              <a:gd name="connsiteX14" fmla="*/ 9449177 w 9740963"/>
              <a:gd name="connsiteY14" fmla="*/ 5702140 h 6858000"/>
              <a:gd name="connsiteX15" fmla="*/ 9438473 w 9740963"/>
              <a:gd name="connsiteY15" fmla="*/ 5649129 h 6858000"/>
              <a:gd name="connsiteX16" fmla="*/ 9521653 w 9740963"/>
              <a:gd name="connsiteY16" fmla="*/ 5523641 h 6858000"/>
              <a:gd name="connsiteX17" fmla="*/ 9565421 w 9740963"/>
              <a:gd name="connsiteY17" fmla="*/ 5514804 h 6858000"/>
              <a:gd name="connsiteX18" fmla="*/ 9583907 w 9740963"/>
              <a:gd name="connsiteY18" fmla="*/ 5514804 h 6858000"/>
              <a:gd name="connsiteX19" fmla="*/ 9014977 w 9740963"/>
              <a:gd name="connsiteY19" fmla="*/ 5514803 h 6858000"/>
              <a:gd name="connsiteX20" fmla="*/ 9067989 w 9740963"/>
              <a:gd name="connsiteY20" fmla="*/ 5525506 h 6858000"/>
              <a:gd name="connsiteX21" fmla="*/ 9104189 w 9740963"/>
              <a:gd name="connsiteY21" fmla="*/ 5549913 h 6858000"/>
              <a:gd name="connsiteX22" fmla="*/ 9740963 w 9740963"/>
              <a:gd name="connsiteY22" fmla="*/ 6186687 h 6858000"/>
              <a:gd name="connsiteX23" fmla="*/ 9740963 w 9740963"/>
              <a:gd name="connsiteY23" fmla="*/ 6858000 h 6858000"/>
              <a:gd name="connsiteX24" fmla="*/ 8878787 w 9740963"/>
              <a:gd name="connsiteY24" fmla="*/ 6858000 h 6858000"/>
              <a:gd name="connsiteX25" fmla="*/ 8878787 w 9740963"/>
              <a:gd name="connsiteY25" fmla="*/ 5650995 h 6858000"/>
              <a:gd name="connsiteX26" fmla="*/ 8878787 w 9740963"/>
              <a:gd name="connsiteY26" fmla="*/ 5650994 h 6858000"/>
              <a:gd name="connsiteX27" fmla="*/ 9014977 w 9740963"/>
              <a:gd name="connsiteY27" fmla="*/ 5514803 h 6858000"/>
              <a:gd name="connsiteX28" fmla="*/ 8615441 w 9740963"/>
              <a:gd name="connsiteY28" fmla="*/ 5514803 h 6858000"/>
              <a:gd name="connsiteX29" fmla="*/ 8751631 w 9740963"/>
              <a:gd name="connsiteY29" fmla="*/ 5650994 h 6858000"/>
              <a:gd name="connsiteX30" fmla="*/ 8751631 w 9740963"/>
              <a:gd name="connsiteY30" fmla="*/ 5650995 h 6858000"/>
              <a:gd name="connsiteX31" fmla="*/ 8751631 w 9740963"/>
              <a:gd name="connsiteY31" fmla="*/ 6858000 h 6858000"/>
              <a:gd name="connsiteX32" fmla="*/ 7218142 w 9740963"/>
              <a:gd name="connsiteY32" fmla="*/ 6858000 h 6858000"/>
              <a:gd name="connsiteX33" fmla="*/ 8526229 w 9740963"/>
              <a:gd name="connsiteY33" fmla="*/ 5549913 h 6858000"/>
              <a:gd name="connsiteX34" fmla="*/ 8562429 w 9740963"/>
              <a:gd name="connsiteY34" fmla="*/ 5525506 h 6858000"/>
              <a:gd name="connsiteX35" fmla="*/ 8615441 w 9740963"/>
              <a:gd name="connsiteY35" fmla="*/ 5514803 h 6858000"/>
              <a:gd name="connsiteX36" fmla="*/ 6477647 w 9740963"/>
              <a:gd name="connsiteY36" fmla="*/ 5514803 h 6858000"/>
              <a:gd name="connsiteX37" fmla="*/ 8046511 w 9740963"/>
              <a:gd name="connsiteY37" fmla="*/ 5514803 h 6858000"/>
              <a:gd name="connsiteX38" fmla="*/ 8046511 w 9740963"/>
              <a:gd name="connsiteY38" fmla="*/ 5514804 h 6858000"/>
              <a:gd name="connsiteX39" fmla="*/ 8064997 w 9740963"/>
              <a:gd name="connsiteY39" fmla="*/ 5514804 h 6858000"/>
              <a:gd name="connsiteX40" fmla="*/ 8108765 w 9740963"/>
              <a:gd name="connsiteY40" fmla="*/ 5523641 h 6858000"/>
              <a:gd name="connsiteX41" fmla="*/ 8191945 w 9740963"/>
              <a:gd name="connsiteY41" fmla="*/ 5649129 h 6858000"/>
              <a:gd name="connsiteX42" fmla="*/ 8181241 w 9740963"/>
              <a:gd name="connsiteY42" fmla="*/ 5702140 h 6858000"/>
              <a:gd name="connsiteX43" fmla="*/ 8160089 w 9740963"/>
              <a:gd name="connsiteY43" fmla="*/ 5733515 h 6858000"/>
              <a:gd name="connsiteX44" fmla="*/ 8140139 w 9740963"/>
              <a:gd name="connsiteY44" fmla="*/ 5753464 h 6858000"/>
              <a:gd name="connsiteX45" fmla="*/ 8140137 w 9740963"/>
              <a:gd name="connsiteY45" fmla="*/ 5753466 h 6858000"/>
              <a:gd name="connsiteX46" fmla="*/ 7035602 w 9740963"/>
              <a:gd name="connsiteY46" fmla="*/ 6858000 h 6858000"/>
              <a:gd name="connsiteX47" fmla="*/ 6334079 w 9740963"/>
              <a:gd name="connsiteY47" fmla="*/ 6858000 h 6858000"/>
              <a:gd name="connsiteX48" fmla="*/ 6334079 w 9740963"/>
              <a:gd name="connsiteY48" fmla="*/ 5658368 h 6858000"/>
              <a:gd name="connsiteX49" fmla="*/ 6334079 w 9740963"/>
              <a:gd name="connsiteY49" fmla="*/ 5658367 h 6858000"/>
              <a:gd name="connsiteX50" fmla="*/ 6334079 w 9740963"/>
              <a:gd name="connsiteY50" fmla="*/ 5639889 h 6858000"/>
              <a:gd name="connsiteX51" fmla="*/ 6342917 w 9740963"/>
              <a:gd name="connsiteY51" fmla="*/ 5596117 h 6858000"/>
              <a:gd name="connsiteX52" fmla="*/ 6415393 w 9740963"/>
              <a:gd name="connsiteY52" fmla="*/ 5523641 h 6858000"/>
              <a:gd name="connsiteX53" fmla="*/ 6459161 w 9740963"/>
              <a:gd name="connsiteY53" fmla="*/ 5514804 h 6858000"/>
              <a:gd name="connsiteX54" fmla="*/ 4494492 w 9740963"/>
              <a:gd name="connsiteY54" fmla="*/ 5514803 h 6858000"/>
              <a:gd name="connsiteX55" fmla="*/ 6063355 w 9740963"/>
              <a:gd name="connsiteY55" fmla="*/ 5514803 h 6858000"/>
              <a:gd name="connsiteX56" fmla="*/ 6081841 w 9740963"/>
              <a:gd name="connsiteY56" fmla="*/ 5514804 h 6858000"/>
              <a:gd name="connsiteX57" fmla="*/ 6125609 w 9740963"/>
              <a:gd name="connsiteY57" fmla="*/ 5523641 h 6858000"/>
              <a:gd name="connsiteX58" fmla="*/ 6198085 w 9740963"/>
              <a:gd name="connsiteY58" fmla="*/ 5596117 h 6858000"/>
              <a:gd name="connsiteX59" fmla="*/ 6206923 w 9740963"/>
              <a:gd name="connsiteY59" fmla="*/ 5639889 h 6858000"/>
              <a:gd name="connsiteX60" fmla="*/ 6206923 w 9740963"/>
              <a:gd name="connsiteY60" fmla="*/ 5658367 h 6858000"/>
              <a:gd name="connsiteX61" fmla="*/ 6206923 w 9740963"/>
              <a:gd name="connsiteY61" fmla="*/ 5658368 h 6858000"/>
              <a:gd name="connsiteX62" fmla="*/ 6206923 w 9740963"/>
              <a:gd name="connsiteY62" fmla="*/ 6858000 h 6858000"/>
              <a:gd name="connsiteX63" fmla="*/ 5505401 w 9740963"/>
              <a:gd name="connsiteY63" fmla="*/ 6858000 h 6858000"/>
              <a:gd name="connsiteX64" fmla="*/ 4400866 w 9740963"/>
              <a:gd name="connsiteY64" fmla="*/ 5753466 h 6858000"/>
              <a:gd name="connsiteX65" fmla="*/ 4400863 w 9740963"/>
              <a:gd name="connsiteY65" fmla="*/ 5753464 h 6858000"/>
              <a:gd name="connsiteX66" fmla="*/ 4380913 w 9740963"/>
              <a:gd name="connsiteY66" fmla="*/ 5733515 h 6858000"/>
              <a:gd name="connsiteX67" fmla="*/ 4359762 w 9740963"/>
              <a:gd name="connsiteY67" fmla="*/ 5702140 h 6858000"/>
              <a:gd name="connsiteX68" fmla="*/ 4349058 w 9740963"/>
              <a:gd name="connsiteY68" fmla="*/ 5649129 h 6858000"/>
              <a:gd name="connsiteX69" fmla="*/ 4432238 w 9740963"/>
              <a:gd name="connsiteY69" fmla="*/ 5523641 h 6858000"/>
              <a:gd name="connsiteX70" fmla="*/ 4476005 w 9740963"/>
              <a:gd name="connsiteY70" fmla="*/ 5514804 h 6858000"/>
              <a:gd name="connsiteX71" fmla="*/ 4494492 w 9740963"/>
              <a:gd name="connsiteY71" fmla="*/ 5514804 h 6858000"/>
              <a:gd name="connsiteX72" fmla="*/ 3925562 w 9740963"/>
              <a:gd name="connsiteY72" fmla="*/ 5514803 h 6858000"/>
              <a:gd name="connsiteX73" fmla="*/ 3978574 w 9740963"/>
              <a:gd name="connsiteY73" fmla="*/ 5525506 h 6858000"/>
              <a:gd name="connsiteX74" fmla="*/ 4014774 w 9740963"/>
              <a:gd name="connsiteY74" fmla="*/ 5549913 h 6858000"/>
              <a:gd name="connsiteX75" fmla="*/ 5322861 w 9740963"/>
              <a:gd name="connsiteY75" fmla="*/ 6858000 h 6858000"/>
              <a:gd name="connsiteX76" fmla="*/ 3789371 w 9740963"/>
              <a:gd name="connsiteY76" fmla="*/ 6858000 h 6858000"/>
              <a:gd name="connsiteX77" fmla="*/ 3789371 w 9740963"/>
              <a:gd name="connsiteY77" fmla="*/ 5650995 h 6858000"/>
              <a:gd name="connsiteX78" fmla="*/ 3789371 w 9740963"/>
              <a:gd name="connsiteY78" fmla="*/ 5650994 h 6858000"/>
              <a:gd name="connsiteX79" fmla="*/ 3925562 w 9740963"/>
              <a:gd name="connsiteY79" fmla="*/ 5514803 h 6858000"/>
              <a:gd name="connsiteX80" fmla="*/ 3526025 w 9740963"/>
              <a:gd name="connsiteY80" fmla="*/ 5514803 h 6858000"/>
              <a:gd name="connsiteX81" fmla="*/ 3662216 w 9740963"/>
              <a:gd name="connsiteY81" fmla="*/ 5650994 h 6858000"/>
              <a:gd name="connsiteX82" fmla="*/ 3662216 w 9740963"/>
              <a:gd name="connsiteY82" fmla="*/ 5650995 h 6858000"/>
              <a:gd name="connsiteX83" fmla="*/ 3662216 w 9740963"/>
              <a:gd name="connsiteY83" fmla="*/ 6858000 h 6858000"/>
              <a:gd name="connsiteX84" fmla="*/ 2128725 w 9740963"/>
              <a:gd name="connsiteY84" fmla="*/ 6858000 h 6858000"/>
              <a:gd name="connsiteX85" fmla="*/ 3436813 w 9740963"/>
              <a:gd name="connsiteY85" fmla="*/ 5549913 h 6858000"/>
              <a:gd name="connsiteX86" fmla="*/ 3473013 w 9740963"/>
              <a:gd name="connsiteY86" fmla="*/ 5525506 h 6858000"/>
              <a:gd name="connsiteX87" fmla="*/ 3526025 w 9740963"/>
              <a:gd name="connsiteY87" fmla="*/ 5514803 h 6858000"/>
              <a:gd name="connsiteX88" fmla="*/ 1388232 w 9740963"/>
              <a:gd name="connsiteY88" fmla="*/ 5514803 h 6858000"/>
              <a:gd name="connsiteX89" fmla="*/ 2957095 w 9740963"/>
              <a:gd name="connsiteY89" fmla="*/ 5514803 h 6858000"/>
              <a:gd name="connsiteX90" fmla="*/ 2957095 w 9740963"/>
              <a:gd name="connsiteY90" fmla="*/ 5514804 h 6858000"/>
              <a:gd name="connsiteX91" fmla="*/ 2975581 w 9740963"/>
              <a:gd name="connsiteY91" fmla="*/ 5514804 h 6858000"/>
              <a:gd name="connsiteX92" fmla="*/ 3019349 w 9740963"/>
              <a:gd name="connsiteY92" fmla="*/ 5523641 h 6858000"/>
              <a:gd name="connsiteX93" fmla="*/ 3102529 w 9740963"/>
              <a:gd name="connsiteY93" fmla="*/ 5649129 h 6858000"/>
              <a:gd name="connsiteX94" fmla="*/ 3091826 w 9740963"/>
              <a:gd name="connsiteY94" fmla="*/ 5702140 h 6858000"/>
              <a:gd name="connsiteX95" fmla="*/ 3070674 w 9740963"/>
              <a:gd name="connsiteY95" fmla="*/ 5733515 h 6858000"/>
              <a:gd name="connsiteX96" fmla="*/ 3050724 w 9740963"/>
              <a:gd name="connsiteY96" fmla="*/ 5753464 h 6858000"/>
              <a:gd name="connsiteX97" fmla="*/ 3050722 w 9740963"/>
              <a:gd name="connsiteY97" fmla="*/ 5753466 h 6858000"/>
              <a:gd name="connsiteX98" fmla="*/ 1946187 w 9740963"/>
              <a:gd name="connsiteY98" fmla="*/ 6858000 h 6858000"/>
              <a:gd name="connsiteX99" fmla="*/ 1244663 w 9740963"/>
              <a:gd name="connsiteY99" fmla="*/ 6858000 h 6858000"/>
              <a:gd name="connsiteX100" fmla="*/ 1244663 w 9740963"/>
              <a:gd name="connsiteY100" fmla="*/ 5658367 h 6858000"/>
              <a:gd name="connsiteX101" fmla="*/ 1244664 w 9740963"/>
              <a:gd name="connsiteY101" fmla="*/ 5658368 h 6858000"/>
              <a:gd name="connsiteX102" fmla="*/ 1244664 w 9740963"/>
              <a:gd name="connsiteY102" fmla="*/ 5639889 h 6858000"/>
              <a:gd name="connsiteX103" fmla="*/ 1253501 w 9740963"/>
              <a:gd name="connsiteY103" fmla="*/ 5596117 h 6858000"/>
              <a:gd name="connsiteX104" fmla="*/ 1325978 w 9740963"/>
              <a:gd name="connsiteY104" fmla="*/ 5523641 h 6858000"/>
              <a:gd name="connsiteX105" fmla="*/ 1369746 w 9740963"/>
              <a:gd name="connsiteY105" fmla="*/ 5514804 h 6858000"/>
              <a:gd name="connsiteX106" fmla="*/ 9583907 w 9740963"/>
              <a:gd name="connsiteY106" fmla="*/ 3506125 h 6858000"/>
              <a:gd name="connsiteX107" fmla="*/ 9740963 w 9740963"/>
              <a:gd name="connsiteY107" fmla="*/ 3506125 h 6858000"/>
              <a:gd name="connsiteX108" fmla="*/ 9740963 w 9740963"/>
              <a:gd name="connsiteY108" fmla="*/ 3995469 h 6858000"/>
              <a:gd name="connsiteX109" fmla="*/ 9490281 w 9740963"/>
              <a:gd name="connsiteY109" fmla="*/ 3744788 h 6858000"/>
              <a:gd name="connsiteX110" fmla="*/ 9490279 w 9740963"/>
              <a:gd name="connsiteY110" fmla="*/ 3744786 h 6858000"/>
              <a:gd name="connsiteX111" fmla="*/ 9470329 w 9740963"/>
              <a:gd name="connsiteY111" fmla="*/ 3724837 h 6858000"/>
              <a:gd name="connsiteX112" fmla="*/ 9449177 w 9740963"/>
              <a:gd name="connsiteY112" fmla="*/ 3693462 h 6858000"/>
              <a:gd name="connsiteX113" fmla="*/ 9438473 w 9740963"/>
              <a:gd name="connsiteY113" fmla="*/ 3640451 h 6858000"/>
              <a:gd name="connsiteX114" fmla="*/ 9521653 w 9740963"/>
              <a:gd name="connsiteY114" fmla="*/ 3514963 h 6858000"/>
              <a:gd name="connsiteX115" fmla="*/ 9565421 w 9740963"/>
              <a:gd name="connsiteY115" fmla="*/ 3506126 h 6858000"/>
              <a:gd name="connsiteX116" fmla="*/ 9583907 w 9740963"/>
              <a:gd name="connsiteY116" fmla="*/ 3506126 h 6858000"/>
              <a:gd name="connsiteX117" fmla="*/ 9014977 w 9740963"/>
              <a:gd name="connsiteY117" fmla="*/ 3506125 h 6858000"/>
              <a:gd name="connsiteX118" fmla="*/ 9067989 w 9740963"/>
              <a:gd name="connsiteY118" fmla="*/ 3516828 h 6858000"/>
              <a:gd name="connsiteX119" fmla="*/ 9104189 w 9740963"/>
              <a:gd name="connsiteY119" fmla="*/ 3541235 h 6858000"/>
              <a:gd name="connsiteX120" fmla="*/ 9740963 w 9740963"/>
              <a:gd name="connsiteY120" fmla="*/ 4178008 h 6858000"/>
              <a:gd name="connsiteX121" fmla="*/ 9740963 w 9740963"/>
              <a:gd name="connsiteY121" fmla="*/ 5360553 h 6858000"/>
              <a:gd name="connsiteX122" fmla="*/ 9022355 w 9740963"/>
              <a:gd name="connsiteY122" fmla="*/ 5360553 h 6858000"/>
              <a:gd name="connsiteX123" fmla="*/ 9003869 w 9740963"/>
              <a:gd name="connsiteY123" fmla="*/ 5360552 h 6858000"/>
              <a:gd name="connsiteX124" fmla="*/ 8960101 w 9740963"/>
              <a:gd name="connsiteY124" fmla="*/ 5351716 h 6858000"/>
              <a:gd name="connsiteX125" fmla="*/ 8887625 w 9740963"/>
              <a:gd name="connsiteY125" fmla="*/ 5279239 h 6858000"/>
              <a:gd name="connsiteX126" fmla="*/ 8878787 w 9740963"/>
              <a:gd name="connsiteY126" fmla="*/ 5235467 h 6858000"/>
              <a:gd name="connsiteX127" fmla="*/ 8878787 w 9740963"/>
              <a:gd name="connsiteY127" fmla="*/ 5216989 h 6858000"/>
              <a:gd name="connsiteX128" fmla="*/ 8878787 w 9740963"/>
              <a:gd name="connsiteY128" fmla="*/ 5216988 h 6858000"/>
              <a:gd name="connsiteX129" fmla="*/ 8878787 w 9740963"/>
              <a:gd name="connsiteY129" fmla="*/ 3642317 h 6858000"/>
              <a:gd name="connsiteX130" fmla="*/ 8878787 w 9740963"/>
              <a:gd name="connsiteY130" fmla="*/ 3642316 h 6858000"/>
              <a:gd name="connsiteX131" fmla="*/ 9014977 w 9740963"/>
              <a:gd name="connsiteY131" fmla="*/ 3506125 h 6858000"/>
              <a:gd name="connsiteX132" fmla="*/ 8615441 w 9740963"/>
              <a:gd name="connsiteY132" fmla="*/ 3506125 h 6858000"/>
              <a:gd name="connsiteX133" fmla="*/ 8751631 w 9740963"/>
              <a:gd name="connsiteY133" fmla="*/ 3642316 h 6858000"/>
              <a:gd name="connsiteX134" fmla="*/ 8751631 w 9740963"/>
              <a:gd name="connsiteY134" fmla="*/ 3642317 h 6858000"/>
              <a:gd name="connsiteX135" fmla="*/ 8751631 w 9740963"/>
              <a:gd name="connsiteY135" fmla="*/ 5216988 h 6858000"/>
              <a:gd name="connsiteX136" fmla="*/ 8751631 w 9740963"/>
              <a:gd name="connsiteY136" fmla="*/ 5216989 h 6858000"/>
              <a:gd name="connsiteX137" fmla="*/ 8751631 w 9740963"/>
              <a:gd name="connsiteY137" fmla="*/ 5235467 h 6858000"/>
              <a:gd name="connsiteX138" fmla="*/ 8742793 w 9740963"/>
              <a:gd name="connsiteY138" fmla="*/ 5279239 h 6858000"/>
              <a:gd name="connsiteX139" fmla="*/ 8670317 w 9740963"/>
              <a:gd name="connsiteY139" fmla="*/ 5351716 h 6858000"/>
              <a:gd name="connsiteX140" fmla="*/ 8626549 w 9740963"/>
              <a:gd name="connsiteY140" fmla="*/ 5360552 h 6858000"/>
              <a:gd name="connsiteX141" fmla="*/ 8608063 w 9740963"/>
              <a:gd name="connsiteY141" fmla="*/ 5360553 h 6858000"/>
              <a:gd name="connsiteX142" fmla="*/ 7039199 w 9740963"/>
              <a:gd name="connsiteY142" fmla="*/ 5360553 h 6858000"/>
              <a:gd name="connsiteX143" fmla="*/ 7039199 w 9740963"/>
              <a:gd name="connsiteY143" fmla="*/ 5360552 h 6858000"/>
              <a:gd name="connsiteX144" fmla="*/ 7020713 w 9740963"/>
              <a:gd name="connsiteY144" fmla="*/ 5360552 h 6858000"/>
              <a:gd name="connsiteX145" fmla="*/ 6976945 w 9740963"/>
              <a:gd name="connsiteY145" fmla="*/ 5351716 h 6858000"/>
              <a:gd name="connsiteX146" fmla="*/ 6893765 w 9740963"/>
              <a:gd name="connsiteY146" fmla="*/ 5226228 h 6858000"/>
              <a:gd name="connsiteX147" fmla="*/ 6904469 w 9740963"/>
              <a:gd name="connsiteY147" fmla="*/ 5173216 h 6858000"/>
              <a:gd name="connsiteX148" fmla="*/ 6925621 w 9740963"/>
              <a:gd name="connsiteY148" fmla="*/ 5141842 h 6858000"/>
              <a:gd name="connsiteX149" fmla="*/ 6945571 w 9740963"/>
              <a:gd name="connsiteY149" fmla="*/ 5121892 h 6858000"/>
              <a:gd name="connsiteX150" fmla="*/ 6945573 w 9740963"/>
              <a:gd name="connsiteY150" fmla="*/ 5121891 h 6858000"/>
              <a:gd name="connsiteX151" fmla="*/ 8526229 w 9740963"/>
              <a:gd name="connsiteY151" fmla="*/ 3541235 h 6858000"/>
              <a:gd name="connsiteX152" fmla="*/ 8562429 w 9740963"/>
              <a:gd name="connsiteY152" fmla="*/ 3516828 h 6858000"/>
              <a:gd name="connsiteX153" fmla="*/ 8615441 w 9740963"/>
              <a:gd name="connsiteY153" fmla="*/ 3506125 h 6858000"/>
              <a:gd name="connsiteX154" fmla="*/ 6477647 w 9740963"/>
              <a:gd name="connsiteY154" fmla="*/ 3506125 h 6858000"/>
              <a:gd name="connsiteX155" fmla="*/ 8046511 w 9740963"/>
              <a:gd name="connsiteY155" fmla="*/ 3506125 h 6858000"/>
              <a:gd name="connsiteX156" fmla="*/ 8046511 w 9740963"/>
              <a:gd name="connsiteY156" fmla="*/ 3506126 h 6858000"/>
              <a:gd name="connsiteX157" fmla="*/ 8064997 w 9740963"/>
              <a:gd name="connsiteY157" fmla="*/ 3506126 h 6858000"/>
              <a:gd name="connsiteX158" fmla="*/ 8108765 w 9740963"/>
              <a:gd name="connsiteY158" fmla="*/ 3514963 h 6858000"/>
              <a:gd name="connsiteX159" fmla="*/ 8191945 w 9740963"/>
              <a:gd name="connsiteY159" fmla="*/ 3640451 h 6858000"/>
              <a:gd name="connsiteX160" fmla="*/ 8181241 w 9740963"/>
              <a:gd name="connsiteY160" fmla="*/ 3693462 h 6858000"/>
              <a:gd name="connsiteX161" fmla="*/ 8160089 w 9740963"/>
              <a:gd name="connsiteY161" fmla="*/ 3724837 h 6858000"/>
              <a:gd name="connsiteX162" fmla="*/ 8140139 w 9740963"/>
              <a:gd name="connsiteY162" fmla="*/ 3744786 h 6858000"/>
              <a:gd name="connsiteX163" fmla="*/ 8140137 w 9740963"/>
              <a:gd name="connsiteY163" fmla="*/ 3744788 h 6858000"/>
              <a:gd name="connsiteX164" fmla="*/ 6559481 w 9740963"/>
              <a:gd name="connsiteY164" fmla="*/ 5325443 h 6858000"/>
              <a:gd name="connsiteX165" fmla="*/ 6523281 w 9740963"/>
              <a:gd name="connsiteY165" fmla="*/ 5349850 h 6858000"/>
              <a:gd name="connsiteX166" fmla="*/ 6470269 w 9740963"/>
              <a:gd name="connsiteY166" fmla="*/ 5360553 h 6858000"/>
              <a:gd name="connsiteX167" fmla="*/ 6334079 w 9740963"/>
              <a:gd name="connsiteY167" fmla="*/ 5224362 h 6858000"/>
              <a:gd name="connsiteX168" fmla="*/ 6334079 w 9740963"/>
              <a:gd name="connsiteY168" fmla="*/ 3649690 h 6858000"/>
              <a:gd name="connsiteX169" fmla="*/ 6334079 w 9740963"/>
              <a:gd name="connsiteY169" fmla="*/ 3649689 h 6858000"/>
              <a:gd name="connsiteX170" fmla="*/ 6334079 w 9740963"/>
              <a:gd name="connsiteY170" fmla="*/ 3631211 h 6858000"/>
              <a:gd name="connsiteX171" fmla="*/ 6342917 w 9740963"/>
              <a:gd name="connsiteY171" fmla="*/ 3587439 h 6858000"/>
              <a:gd name="connsiteX172" fmla="*/ 6415393 w 9740963"/>
              <a:gd name="connsiteY172" fmla="*/ 3514963 h 6858000"/>
              <a:gd name="connsiteX173" fmla="*/ 6459161 w 9740963"/>
              <a:gd name="connsiteY173" fmla="*/ 3506126 h 6858000"/>
              <a:gd name="connsiteX174" fmla="*/ 4494492 w 9740963"/>
              <a:gd name="connsiteY174" fmla="*/ 3506125 h 6858000"/>
              <a:gd name="connsiteX175" fmla="*/ 6063355 w 9740963"/>
              <a:gd name="connsiteY175" fmla="*/ 3506125 h 6858000"/>
              <a:gd name="connsiteX176" fmla="*/ 6081841 w 9740963"/>
              <a:gd name="connsiteY176" fmla="*/ 3506126 h 6858000"/>
              <a:gd name="connsiteX177" fmla="*/ 6125609 w 9740963"/>
              <a:gd name="connsiteY177" fmla="*/ 3514963 h 6858000"/>
              <a:gd name="connsiteX178" fmla="*/ 6198085 w 9740963"/>
              <a:gd name="connsiteY178" fmla="*/ 3587439 h 6858000"/>
              <a:gd name="connsiteX179" fmla="*/ 6206923 w 9740963"/>
              <a:gd name="connsiteY179" fmla="*/ 3631211 h 6858000"/>
              <a:gd name="connsiteX180" fmla="*/ 6206923 w 9740963"/>
              <a:gd name="connsiteY180" fmla="*/ 3649689 h 6858000"/>
              <a:gd name="connsiteX181" fmla="*/ 6206923 w 9740963"/>
              <a:gd name="connsiteY181" fmla="*/ 3649690 h 6858000"/>
              <a:gd name="connsiteX182" fmla="*/ 6206923 w 9740963"/>
              <a:gd name="connsiteY182" fmla="*/ 5224362 h 6858000"/>
              <a:gd name="connsiteX183" fmla="*/ 6070733 w 9740963"/>
              <a:gd name="connsiteY183" fmla="*/ 5360553 h 6858000"/>
              <a:gd name="connsiteX184" fmla="*/ 6017721 w 9740963"/>
              <a:gd name="connsiteY184" fmla="*/ 5349850 h 6858000"/>
              <a:gd name="connsiteX185" fmla="*/ 5981521 w 9740963"/>
              <a:gd name="connsiteY185" fmla="*/ 5325443 h 6858000"/>
              <a:gd name="connsiteX186" fmla="*/ 4400866 w 9740963"/>
              <a:gd name="connsiteY186" fmla="*/ 3744788 h 6858000"/>
              <a:gd name="connsiteX187" fmla="*/ 4400864 w 9740963"/>
              <a:gd name="connsiteY187" fmla="*/ 3744786 h 6858000"/>
              <a:gd name="connsiteX188" fmla="*/ 4380913 w 9740963"/>
              <a:gd name="connsiteY188" fmla="*/ 3724837 h 6858000"/>
              <a:gd name="connsiteX189" fmla="*/ 4359762 w 9740963"/>
              <a:gd name="connsiteY189" fmla="*/ 3693462 h 6858000"/>
              <a:gd name="connsiteX190" fmla="*/ 4349058 w 9740963"/>
              <a:gd name="connsiteY190" fmla="*/ 3640451 h 6858000"/>
              <a:gd name="connsiteX191" fmla="*/ 4432239 w 9740963"/>
              <a:gd name="connsiteY191" fmla="*/ 3514963 h 6858000"/>
              <a:gd name="connsiteX192" fmla="*/ 4476005 w 9740963"/>
              <a:gd name="connsiteY192" fmla="*/ 3506126 h 6858000"/>
              <a:gd name="connsiteX193" fmla="*/ 4494492 w 9740963"/>
              <a:gd name="connsiteY193" fmla="*/ 3506126 h 6858000"/>
              <a:gd name="connsiteX194" fmla="*/ 3925563 w 9740963"/>
              <a:gd name="connsiteY194" fmla="*/ 3506125 h 6858000"/>
              <a:gd name="connsiteX195" fmla="*/ 3978574 w 9740963"/>
              <a:gd name="connsiteY195" fmla="*/ 3516828 h 6858000"/>
              <a:gd name="connsiteX196" fmla="*/ 4014774 w 9740963"/>
              <a:gd name="connsiteY196" fmla="*/ 3541235 h 6858000"/>
              <a:gd name="connsiteX197" fmla="*/ 5595430 w 9740963"/>
              <a:gd name="connsiteY197" fmla="*/ 5121891 h 6858000"/>
              <a:gd name="connsiteX198" fmla="*/ 5595432 w 9740963"/>
              <a:gd name="connsiteY198" fmla="*/ 5121892 h 6858000"/>
              <a:gd name="connsiteX199" fmla="*/ 5615381 w 9740963"/>
              <a:gd name="connsiteY199" fmla="*/ 5141842 h 6858000"/>
              <a:gd name="connsiteX200" fmla="*/ 5636534 w 9740963"/>
              <a:gd name="connsiteY200" fmla="*/ 5173216 h 6858000"/>
              <a:gd name="connsiteX201" fmla="*/ 5647237 w 9740963"/>
              <a:gd name="connsiteY201" fmla="*/ 5226228 h 6858000"/>
              <a:gd name="connsiteX202" fmla="*/ 5564057 w 9740963"/>
              <a:gd name="connsiteY202" fmla="*/ 5351716 h 6858000"/>
              <a:gd name="connsiteX203" fmla="*/ 5520289 w 9740963"/>
              <a:gd name="connsiteY203" fmla="*/ 5360552 h 6858000"/>
              <a:gd name="connsiteX204" fmla="*/ 5501803 w 9740963"/>
              <a:gd name="connsiteY204" fmla="*/ 5360552 h 6858000"/>
              <a:gd name="connsiteX205" fmla="*/ 5501803 w 9740963"/>
              <a:gd name="connsiteY205" fmla="*/ 5360553 h 6858000"/>
              <a:gd name="connsiteX206" fmla="*/ 3932940 w 9740963"/>
              <a:gd name="connsiteY206" fmla="*/ 5360553 h 6858000"/>
              <a:gd name="connsiteX207" fmla="*/ 3914454 w 9740963"/>
              <a:gd name="connsiteY207" fmla="*/ 5360552 h 6858000"/>
              <a:gd name="connsiteX208" fmla="*/ 3870687 w 9740963"/>
              <a:gd name="connsiteY208" fmla="*/ 5351716 h 6858000"/>
              <a:gd name="connsiteX209" fmla="*/ 3798210 w 9740963"/>
              <a:gd name="connsiteY209" fmla="*/ 5279239 h 6858000"/>
              <a:gd name="connsiteX210" fmla="*/ 3789372 w 9740963"/>
              <a:gd name="connsiteY210" fmla="*/ 5235467 h 6858000"/>
              <a:gd name="connsiteX211" fmla="*/ 3789372 w 9740963"/>
              <a:gd name="connsiteY211" fmla="*/ 5216988 h 6858000"/>
              <a:gd name="connsiteX212" fmla="*/ 3789371 w 9740963"/>
              <a:gd name="connsiteY212" fmla="*/ 5216989 h 6858000"/>
              <a:gd name="connsiteX213" fmla="*/ 3789371 w 9740963"/>
              <a:gd name="connsiteY213" fmla="*/ 3642317 h 6858000"/>
              <a:gd name="connsiteX214" fmla="*/ 3789371 w 9740963"/>
              <a:gd name="connsiteY214" fmla="*/ 3642316 h 6858000"/>
              <a:gd name="connsiteX215" fmla="*/ 3925563 w 9740963"/>
              <a:gd name="connsiteY215" fmla="*/ 3506125 h 6858000"/>
              <a:gd name="connsiteX216" fmla="*/ 3526024 w 9740963"/>
              <a:gd name="connsiteY216" fmla="*/ 3506125 h 6858000"/>
              <a:gd name="connsiteX217" fmla="*/ 3662215 w 9740963"/>
              <a:gd name="connsiteY217" fmla="*/ 3642316 h 6858000"/>
              <a:gd name="connsiteX218" fmla="*/ 3662215 w 9740963"/>
              <a:gd name="connsiteY218" fmla="*/ 3642317 h 6858000"/>
              <a:gd name="connsiteX219" fmla="*/ 3662215 w 9740963"/>
              <a:gd name="connsiteY219" fmla="*/ 5216988 h 6858000"/>
              <a:gd name="connsiteX220" fmla="*/ 3662215 w 9740963"/>
              <a:gd name="connsiteY220" fmla="*/ 5216989 h 6858000"/>
              <a:gd name="connsiteX221" fmla="*/ 3662215 w 9740963"/>
              <a:gd name="connsiteY221" fmla="*/ 5235467 h 6858000"/>
              <a:gd name="connsiteX222" fmla="*/ 3653377 w 9740963"/>
              <a:gd name="connsiteY222" fmla="*/ 5279239 h 6858000"/>
              <a:gd name="connsiteX223" fmla="*/ 3580900 w 9740963"/>
              <a:gd name="connsiteY223" fmla="*/ 5351716 h 6858000"/>
              <a:gd name="connsiteX224" fmla="*/ 3537132 w 9740963"/>
              <a:gd name="connsiteY224" fmla="*/ 5360552 h 6858000"/>
              <a:gd name="connsiteX225" fmla="*/ 3518647 w 9740963"/>
              <a:gd name="connsiteY225" fmla="*/ 5360553 h 6858000"/>
              <a:gd name="connsiteX226" fmla="*/ 1949784 w 9740963"/>
              <a:gd name="connsiteY226" fmla="*/ 5360553 h 6858000"/>
              <a:gd name="connsiteX227" fmla="*/ 1949784 w 9740963"/>
              <a:gd name="connsiteY227" fmla="*/ 5360552 h 6858000"/>
              <a:gd name="connsiteX228" fmla="*/ 1931296 w 9740963"/>
              <a:gd name="connsiteY228" fmla="*/ 5360552 h 6858000"/>
              <a:gd name="connsiteX229" fmla="*/ 1887528 w 9740963"/>
              <a:gd name="connsiteY229" fmla="*/ 5351716 h 6858000"/>
              <a:gd name="connsiteX230" fmla="*/ 1804350 w 9740963"/>
              <a:gd name="connsiteY230" fmla="*/ 5226228 h 6858000"/>
              <a:gd name="connsiteX231" fmla="*/ 1815052 w 9740963"/>
              <a:gd name="connsiteY231" fmla="*/ 5173216 h 6858000"/>
              <a:gd name="connsiteX232" fmla="*/ 1836205 w 9740963"/>
              <a:gd name="connsiteY232" fmla="*/ 5141842 h 6858000"/>
              <a:gd name="connsiteX233" fmla="*/ 1856154 w 9740963"/>
              <a:gd name="connsiteY233" fmla="*/ 5121892 h 6858000"/>
              <a:gd name="connsiteX234" fmla="*/ 1856156 w 9740963"/>
              <a:gd name="connsiteY234" fmla="*/ 5121891 h 6858000"/>
              <a:gd name="connsiteX235" fmla="*/ 3436812 w 9740963"/>
              <a:gd name="connsiteY235" fmla="*/ 3541235 h 6858000"/>
              <a:gd name="connsiteX236" fmla="*/ 3473013 w 9740963"/>
              <a:gd name="connsiteY236" fmla="*/ 3516828 h 6858000"/>
              <a:gd name="connsiteX237" fmla="*/ 3526024 w 9740963"/>
              <a:gd name="connsiteY237" fmla="*/ 3506125 h 6858000"/>
              <a:gd name="connsiteX238" fmla="*/ 9740963 w 9740963"/>
              <a:gd name="connsiteY238" fmla="*/ 2862533 h 6858000"/>
              <a:gd name="connsiteX239" fmla="*/ 9740963 w 9740963"/>
              <a:gd name="connsiteY239" fmla="*/ 3351876 h 6858000"/>
              <a:gd name="connsiteX240" fmla="*/ 9583907 w 9740963"/>
              <a:gd name="connsiteY240" fmla="*/ 3351876 h 6858000"/>
              <a:gd name="connsiteX241" fmla="*/ 9583907 w 9740963"/>
              <a:gd name="connsiteY241" fmla="*/ 3351875 h 6858000"/>
              <a:gd name="connsiteX242" fmla="*/ 9565421 w 9740963"/>
              <a:gd name="connsiteY242" fmla="*/ 3351875 h 6858000"/>
              <a:gd name="connsiteX243" fmla="*/ 9521653 w 9740963"/>
              <a:gd name="connsiteY243" fmla="*/ 3343039 h 6858000"/>
              <a:gd name="connsiteX244" fmla="*/ 9438473 w 9740963"/>
              <a:gd name="connsiteY244" fmla="*/ 3217551 h 6858000"/>
              <a:gd name="connsiteX245" fmla="*/ 9449177 w 9740963"/>
              <a:gd name="connsiteY245" fmla="*/ 3164541 h 6858000"/>
              <a:gd name="connsiteX246" fmla="*/ 9470329 w 9740963"/>
              <a:gd name="connsiteY246" fmla="*/ 3133166 h 6858000"/>
              <a:gd name="connsiteX247" fmla="*/ 9490279 w 9740963"/>
              <a:gd name="connsiteY247" fmla="*/ 3113216 h 6858000"/>
              <a:gd name="connsiteX248" fmla="*/ 9490281 w 9740963"/>
              <a:gd name="connsiteY248" fmla="*/ 3113215 h 6858000"/>
              <a:gd name="connsiteX249" fmla="*/ 9022355 w 9740963"/>
              <a:gd name="connsiteY249" fmla="*/ 1497450 h 6858000"/>
              <a:gd name="connsiteX250" fmla="*/ 9740963 w 9740963"/>
              <a:gd name="connsiteY250" fmla="*/ 1497450 h 6858000"/>
              <a:gd name="connsiteX251" fmla="*/ 9740963 w 9740963"/>
              <a:gd name="connsiteY251" fmla="*/ 2679993 h 6858000"/>
              <a:gd name="connsiteX252" fmla="*/ 9104189 w 9740963"/>
              <a:gd name="connsiteY252" fmla="*/ 3316766 h 6858000"/>
              <a:gd name="connsiteX253" fmla="*/ 9067989 w 9740963"/>
              <a:gd name="connsiteY253" fmla="*/ 3341173 h 6858000"/>
              <a:gd name="connsiteX254" fmla="*/ 9014977 w 9740963"/>
              <a:gd name="connsiteY254" fmla="*/ 3351876 h 6858000"/>
              <a:gd name="connsiteX255" fmla="*/ 8878787 w 9740963"/>
              <a:gd name="connsiteY255" fmla="*/ 3215686 h 6858000"/>
              <a:gd name="connsiteX256" fmla="*/ 8878787 w 9740963"/>
              <a:gd name="connsiteY256" fmla="*/ 3215685 h 6858000"/>
              <a:gd name="connsiteX257" fmla="*/ 8878787 w 9740963"/>
              <a:gd name="connsiteY257" fmla="*/ 1641015 h 6858000"/>
              <a:gd name="connsiteX258" fmla="*/ 8878787 w 9740963"/>
              <a:gd name="connsiteY258" fmla="*/ 1641014 h 6858000"/>
              <a:gd name="connsiteX259" fmla="*/ 8878787 w 9740963"/>
              <a:gd name="connsiteY259" fmla="*/ 1622536 h 6858000"/>
              <a:gd name="connsiteX260" fmla="*/ 8887625 w 9740963"/>
              <a:gd name="connsiteY260" fmla="*/ 1578764 h 6858000"/>
              <a:gd name="connsiteX261" fmla="*/ 8960101 w 9740963"/>
              <a:gd name="connsiteY261" fmla="*/ 1506287 h 6858000"/>
              <a:gd name="connsiteX262" fmla="*/ 9003869 w 9740963"/>
              <a:gd name="connsiteY262" fmla="*/ 1497451 h 6858000"/>
              <a:gd name="connsiteX263" fmla="*/ 7039199 w 9740963"/>
              <a:gd name="connsiteY263" fmla="*/ 1497450 h 6858000"/>
              <a:gd name="connsiteX264" fmla="*/ 8608063 w 9740963"/>
              <a:gd name="connsiteY264" fmla="*/ 1497450 h 6858000"/>
              <a:gd name="connsiteX265" fmla="*/ 8626549 w 9740963"/>
              <a:gd name="connsiteY265" fmla="*/ 1497451 h 6858000"/>
              <a:gd name="connsiteX266" fmla="*/ 8670317 w 9740963"/>
              <a:gd name="connsiteY266" fmla="*/ 1506287 h 6858000"/>
              <a:gd name="connsiteX267" fmla="*/ 8742793 w 9740963"/>
              <a:gd name="connsiteY267" fmla="*/ 1578764 h 6858000"/>
              <a:gd name="connsiteX268" fmla="*/ 8751631 w 9740963"/>
              <a:gd name="connsiteY268" fmla="*/ 1622536 h 6858000"/>
              <a:gd name="connsiteX269" fmla="*/ 8751631 w 9740963"/>
              <a:gd name="connsiteY269" fmla="*/ 1641014 h 6858000"/>
              <a:gd name="connsiteX270" fmla="*/ 8751631 w 9740963"/>
              <a:gd name="connsiteY270" fmla="*/ 1641015 h 6858000"/>
              <a:gd name="connsiteX271" fmla="*/ 8751631 w 9740963"/>
              <a:gd name="connsiteY271" fmla="*/ 3215685 h 6858000"/>
              <a:gd name="connsiteX272" fmla="*/ 8751631 w 9740963"/>
              <a:gd name="connsiteY272" fmla="*/ 3215686 h 6858000"/>
              <a:gd name="connsiteX273" fmla="*/ 8615441 w 9740963"/>
              <a:gd name="connsiteY273" fmla="*/ 3351876 h 6858000"/>
              <a:gd name="connsiteX274" fmla="*/ 8562429 w 9740963"/>
              <a:gd name="connsiteY274" fmla="*/ 3341173 h 6858000"/>
              <a:gd name="connsiteX275" fmla="*/ 8526229 w 9740963"/>
              <a:gd name="connsiteY275" fmla="*/ 3316766 h 6858000"/>
              <a:gd name="connsiteX276" fmla="*/ 6945573 w 9740963"/>
              <a:gd name="connsiteY276" fmla="*/ 1736112 h 6858000"/>
              <a:gd name="connsiteX277" fmla="*/ 6945571 w 9740963"/>
              <a:gd name="connsiteY277" fmla="*/ 1736111 h 6858000"/>
              <a:gd name="connsiteX278" fmla="*/ 6925621 w 9740963"/>
              <a:gd name="connsiteY278" fmla="*/ 1716161 h 6858000"/>
              <a:gd name="connsiteX279" fmla="*/ 6904469 w 9740963"/>
              <a:gd name="connsiteY279" fmla="*/ 1684787 h 6858000"/>
              <a:gd name="connsiteX280" fmla="*/ 6893765 w 9740963"/>
              <a:gd name="connsiteY280" fmla="*/ 1631775 h 6858000"/>
              <a:gd name="connsiteX281" fmla="*/ 6976945 w 9740963"/>
              <a:gd name="connsiteY281" fmla="*/ 1506287 h 6858000"/>
              <a:gd name="connsiteX282" fmla="*/ 7020713 w 9740963"/>
              <a:gd name="connsiteY282" fmla="*/ 1497451 h 6858000"/>
              <a:gd name="connsiteX283" fmla="*/ 7039199 w 9740963"/>
              <a:gd name="connsiteY283" fmla="*/ 1497451 h 6858000"/>
              <a:gd name="connsiteX284" fmla="*/ 6470269 w 9740963"/>
              <a:gd name="connsiteY284" fmla="*/ 1497450 h 6858000"/>
              <a:gd name="connsiteX285" fmla="*/ 6523281 w 9740963"/>
              <a:gd name="connsiteY285" fmla="*/ 1508153 h 6858000"/>
              <a:gd name="connsiteX286" fmla="*/ 6559481 w 9740963"/>
              <a:gd name="connsiteY286" fmla="*/ 1532560 h 6858000"/>
              <a:gd name="connsiteX287" fmla="*/ 8140137 w 9740963"/>
              <a:gd name="connsiteY287" fmla="*/ 3113215 h 6858000"/>
              <a:gd name="connsiteX288" fmla="*/ 8140139 w 9740963"/>
              <a:gd name="connsiteY288" fmla="*/ 3113216 h 6858000"/>
              <a:gd name="connsiteX289" fmla="*/ 8160089 w 9740963"/>
              <a:gd name="connsiteY289" fmla="*/ 3133166 h 6858000"/>
              <a:gd name="connsiteX290" fmla="*/ 8181241 w 9740963"/>
              <a:gd name="connsiteY290" fmla="*/ 3164541 h 6858000"/>
              <a:gd name="connsiteX291" fmla="*/ 8191945 w 9740963"/>
              <a:gd name="connsiteY291" fmla="*/ 3217551 h 6858000"/>
              <a:gd name="connsiteX292" fmla="*/ 8108765 w 9740963"/>
              <a:gd name="connsiteY292" fmla="*/ 3343039 h 6858000"/>
              <a:gd name="connsiteX293" fmla="*/ 8064997 w 9740963"/>
              <a:gd name="connsiteY293" fmla="*/ 3351875 h 6858000"/>
              <a:gd name="connsiteX294" fmla="*/ 8046511 w 9740963"/>
              <a:gd name="connsiteY294" fmla="*/ 3351875 h 6858000"/>
              <a:gd name="connsiteX295" fmla="*/ 8046511 w 9740963"/>
              <a:gd name="connsiteY295" fmla="*/ 3351876 h 6858000"/>
              <a:gd name="connsiteX296" fmla="*/ 6477647 w 9740963"/>
              <a:gd name="connsiteY296" fmla="*/ 3351876 h 6858000"/>
              <a:gd name="connsiteX297" fmla="*/ 6459161 w 9740963"/>
              <a:gd name="connsiteY297" fmla="*/ 3351875 h 6858000"/>
              <a:gd name="connsiteX298" fmla="*/ 6415393 w 9740963"/>
              <a:gd name="connsiteY298" fmla="*/ 3343039 h 6858000"/>
              <a:gd name="connsiteX299" fmla="*/ 6342917 w 9740963"/>
              <a:gd name="connsiteY299" fmla="*/ 3270562 h 6858000"/>
              <a:gd name="connsiteX300" fmla="*/ 6334079 w 9740963"/>
              <a:gd name="connsiteY300" fmla="*/ 3226790 h 6858000"/>
              <a:gd name="connsiteX301" fmla="*/ 6334079 w 9740963"/>
              <a:gd name="connsiteY301" fmla="*/ 3208313 h 6858000"/>
              <a:gd name="connsiteX302" fmla="*/ 6334079 w 9740963"/>
              <a:gd name="connsiteY302" fmla="*/ 3208312 h 6858000"/>
              <a:gd name="connsiteX303" fmla="*/ 6334079 w 9740963"/>
              <a:gd name="connsiteY303" fmla="*/ 1633642 h 6858000"/>
              <a:gd name="connsiteX304" fmla="*/ 6334079 w 9740963"/>
              <a:gd name="connsiteY304" fmla="*/ 1633641 h 6858000"/>
              <a:gd name="connsiteX305" fmla="*/ 6470269 w 9740963"/>
              <a:gd name="connsiteY305" fmla="*/ 1497450 h 6858000"/>
              <a:gd name="connsiteX306" fmla="*/ 6070733 w 9740963"/>
              <a:gd name="connsiteY306" fmla="*/ 1497450 h 6858000"/>
              <a:gd name="connsiteX307" fmla="*/ 6206923 w 9740963"/>
              <a:gd name="connsiteY307" fmla="*/ 1633641 h 6858000"/>
              <a:gd name="connsiteX308" fmla="*/ 6206923 w 9740963"/>
              <a:gd name="connsiteY308" fmla="*/ 1633642 h 6858000"/>
              <a:gd name="connsiteX309" fmla="*/ 6206923 w 9740963"/>
              <a:gd name="connsiteY309" fmla="*/ 3208312 h 6858000"/>
              <a:gd name="connsiteX310" fmla="*/ 6206923 w 9740963"/>
              <a:gd name="connsiteY310" fmla="*/ 3208313 h 6858000"/>
              <a:gd name="connsiteX311" fmla="*/ 6206923 w 9740963"/>
              <a:gd name="connsiteY311" fmla="*/ 3226790 h 6858000"/>
              <a:gd name="connsiteX312" fmla="*/ 6198085 w 9740963"/>
              <a:gd name="connsiteY312" fmla="*/ 3270562 h 6858000"/>
              <a:gd name="connsiteX313" fmla="*/ 6125609 w 9740963"/>
              <a:gd name="connsiteY313" fmla="*/ 3343039 h 6858000"/>
              <a:gd name="connsiteX314" fmla="*/ 6081841 w 9740963"/>
              <a:gd name="connsiteY314" fmla="*/ 3351875 h 6858000"/>
              <a:gd name="connsiteX315" fmla="*/ 6063355 w 9740963"/>
              <a:gd name="connsiteY315" fmla="*/ 3351876 h 6858000"/>
              <a:gd name="connsiteX316" fmla="*/ 4494492 w 9740963"/>
              <a:gd name="connsiteY316" fmla="*/ 3351876 h 6858000"/>
              <a:gd name="connsiteX317" fmla="*/ 4494492 w 9740963"/>
              <a:gd name="connsiteY317" fmla="*/ 3351875 h 6858000"/>
              <a:gd name="connsiteX318" fmla="*/ 4476005 w 9740963"/>
              <a:gd name="connsiteY318" fmla="*/ 3351875 h 6858000"/>
              <a:gd name="connsiteX319" fmla="*/ 4432239 w 9740963"/>
              <a:gd name="connsiteY319" fmla="*/ 3343039 h 6858000"/>
              <a:gd name="connsiteX320" fmla="*/ 4349059 w 9740963"/>
              <a:gd name="connsiteY320" fmla="*/ 3217551 h 6858000"/>
              <a:gd name="connsiteX321" fmla="*/ 4359762 w 9740963"/>
              <a:gd name="connsiteY321" fmla="*/ 3164541 h 6858000"/>
              <a:gd name="connsiteX322" fmla="*/ 4380915 w 9740963"/>
              <a:gd name="connsiteY322" fmla="*/ 3133166 h 6858000"/>
              <a:gd name="connsiteX323" fmla="*/ 4400864 w 9740963"/>
              <a:gd name="connsiteY323" fmla="*/ 3113216 h 6858000"/>
              <a:gd name="connsiteX324" fmla="*/ 4400867 w 9740963"/>
              <a:gd name="connsiteY324" fmla="*/ 3113215 h 6858000"/>
              <a:gd name="connsiteX325" fmla="*/ 5981521 w 9740963"/>
              <a:gd name="connsiteY325" fmla="*/ 1532560 h 6858000"/>
              <a:gd name="connsiteX326" fmla="*/ 6017721 w 9740963"/>
              <a:gd name="connsiteY326" fmla="*/ 1508153 h 6858000"/>
              <a:gd name="connsiteX327" fmla="*/ 6070733 w 9740963"/>
              <a:gd name="connsiteY327" fmla="*/ 1497450 h 6858000"/>
              <a:gd name="connsiteX328" fmla="*/ 3932943 w 9740963"/>
              <a:gd name="connsiteY328" fmla="*/ 1497450 h 6858000"/>
              <a:gd name="connsiteX329" fmla="*/ 5501803 w 9740963"/>
              <a:gd name="connsiteY329" fmla="*/ 1497450 h 6858000"/>
              <a:gd name="connsiteX330" fmla="*/ 5501803 w 9740963"/>
              <a:gd name="connsiteY330" fmla="*/ 1497451 h 6858000"/>
              <a:gd name="connsiteX331" fmla="*/ 5520290 w 9740963"/>
              <a:gd name="connsiteY331" fmla="*/ 1497451 h 6858000"/>
              <a:gd name="connsiteX332" fmla="*/ 5564058 w 9740963"/>
              <a:gd name="connsiteY332" fmla="*/ 1506287 h 6858000"/>
              <a:gd name="connsiteX333" fmla="*/ 5647237 w 9740963"/>
              <a:gd name="connsiteY333" fmla="*/ 1631775 h 6858000"/>
              <a:gd name="connsiteX334" fmla="*/ 5636534 w 9740963"/>
              <a:gd name="connsiteY334" fmla="*/ 1684787 h 6858000"/>
              <a:gd name="connsiteX335" fmla="*/ 5615382 w 9740963"/>
              <a:gd name="connsiteY335" fmla="*/ 1716161 h 6858000"/>
              <a:gd name="connsiteX336" fmla="*/ 5595432 w 9740963"/>
              <a:gd name="connsiteY336" fmla="*/ 1736111 h 6858000"/>
              <a:gd name="connsiteX337" fmla="*/ 5595430 w 9740963"/>
              <a:gd name="connsiteY337" fmla="*/ 1736112 h 6858000"/>
              <a:gd name="connsiteX338" fmla="*/ 4014775 w 9740963"/>
              <a:gd name="connsiteY338" fmla="*/ 3316766 h 6858000"/>
              <a:gd name="connsiteX339" fmla="*/ 3978575 w 9740963"/>
              <a:gd name="connsiteY339" fmla="*/ 3341173 h 6858000"/>
              <a:gd name="connsiteX340" fmla="*/ 3925563 w 9740963"/>
              <a:gd name="connsiteY340" fmla="*/ 3351876 h 6858000"/>
              <a:gd name="connsiteX341" fmla="*/ 3789371 w 9740963"/>
              <a:gd name="connsiteY341" fmla="*/ 3215686 h 6858000"/>
              <a:gd name="connsiteX342" fmla="*/ 3789371 w 9740963"/>
              <a:gd name="connsiteY342" fmla="*/ 3215685 h 6858000"/>
              <a:gd name="connsiteX343" fmla="*/ 3789372 w 9740963"/>
              <a:gd name="connsiteY343" fmla="*/ 1641014 h 6858000"/>
              <a:gd name="connsiteX344" fmla="*/ 3789374 w 9740963"/>
              <a:gd name="connsiteY344" fmla="*/ 1641015 h 6858000"/>
              <a:gd name="connsiteX345" fmla="*/ 3789374 w 9740963"/>
              <a:gd name="connsiteY345" fmla="*/ 1622536 h 6858000"/>
              <a:gd name="connsiteX346" fmla="*/ 3798210 w 9740963"/>
              <a:gd name="connsiteY346" fmla="*/ 1578764 h 6858000"/>
              <a:gd name="connsiteX347" fmla="*/ 3870687 w 9740963"/>
              <a:gd name="connsiteY347" fmla="*/ 1506287 h 6858000"/>
              <a:gd name="connsiteX348" fmla="*/ 3914456 w 9740963"/>
              <a:gd name="connsiteY348" fmla="*/ 1497451 h 6858000"/>
              <a:gd name="connsiteX349" fmla="*/ 1949785 w 9740963"/>
              <a:gd name="connsiteY349" fmla="*/ 1497450 h 6858000"/>
              <a:gd name="connsiteX350" fmla="*/ 3518648 w 9740963"/>
              <a:gd name="connsiteY350" fmla="*/ 1497450 h 6858000"/>
              <a:gd name="connsiteX351" fmla="*/ 3537134 w 9740963"/>
              <a:gd name="connsiteY351" fmla="*/ 1497451 h 6858000"/>
              <a:gd name="connsiteX352" fmla="*/ 3580902 w 9740963"/>
              <a:gd name="connsiteY352" fmla="*/ 1506287 h 6858000"/>
              <a:gd name="connsiteX353" fmla="*/ 3653380 w 9740963"/>
              <a:gd name="connsiteY353" fmla="*/ 1578764 h 6858000"/>
              <a:gd name="connsiteX354" fmla="*/ 3662216 w 9740963"/>
              <a:gd name="connsiteY354" fmla="*/ 1622536 h 6858000"/>
              <a:gd name="connsiteX355" fmla="*/ 3662216 w 9740963"/>
              <a:gd name="connsiteY355" fmla="*/ 1641015 h 6858000"/>
              <a:gd name="connsiteX356" fmla="*/ 3662218 w 9740963"/>
              <a:gd name="connsiteY356" fmla="*/ 1641014 h 6858000"/>
              <a:gd name="connsiteX357" fmla="*/ 3662217 w 9740963"/>
              <a:gd name="connsiteY357" fmla="*/ 3215685 h 6858000"/>
              <a:gd name="connsiteX358" fmla="*/ 3662217 w 9740963"/>
              <a:gd name="connsiteY358" fmla="*/ 3215686 h 6858000"/>
              <a:gd name="connsiteX359" fmla="*/ 3526026 w 9740963"/>
              <a:gd name="connsiteY359" fmla="*/ 3351876 h 6858000"/>
              <a:gd name="connsiteX360" fmla="*/ 3473014 w 9740963"/>
              <a:gd name="connsiteY360" fmla="*/ 3341173 h 6858000"/>
              <a:gd name="connsiteX361" fmla="*/ 3436813 w 9740963"/>
              <a:gd name="connsiteY361" fmla="*/ 3316766 h 6858000"/>
              <a:gd name="connsiteX362" fmla="*/ 1856157 w 9740963"/>
              <a:gd name="connsiteY362" fmla="*/ 1736112 h 6858000"/>
              <a:gd name="connsiteX363" fmla="*/ 1856156 w 9740963"/>
              <a:gd name="connsiteY363" fmla="*/ 1736111 h 6858000"/>
              <a:gd name="connsiteX364" fmla="*/ 1836206 w 9740963"/>
              <a:gd name="connsiteY364" fmla="*/ 1716161 h 6858000"/>
              <a:gd name="connsiteX365" fmla="*/ 1815054 w 9740963"/>
              <a:gd name="connsiteY365" fmla="*/ 1684787 h 6858000"/>
              <a:gd name="connsiteX366" fmla="*/ 1804351 w 9740963"/>
              <a:gd name="connsiteY366" fmla="*/ 1631775 h 6858000"/>
              <a:gd name="connsiteX367" fmla="*/ 1887531 w 9740963"/>
              <a:gd name="connsiteY367" fmla="*/ 1506287 h 6858000"/>
              <a:gd name="connsiteX368" fmla="*/ 1931299 w 9740963"/>
              <a:gd name="connsiteY368" fmla="*/ 1497451 h 6858000"/>
              <a:gd name="connsiteX369" fmla="*/ 1949785 w 9740963"/>
              <a:gd name="connsiteY369" fmla="*/ 1497451 h 6858000"/>
              <a:gd name="connsiteX370" fmla="*/ 9740963 w 9740963"/>
              <a:gd name="connsiteY370" fmla="*/ 853857 h 6858000"/>
              <a:gd name="connsiteX371" fmla="*/ 9740963 w 9740963"/>
              <a:gd name="connsiteY371" fmla="*/ 1343201 h 6858000"/>
              <a:gd name="connsiteX372" fmla="*/ 9583907 w 9740963"/>
              <a:gd name="connsiteY372" fmla="*/ 1343201 h 6858000"/>
              <a:gd name="connsiteX373" fmla="*/ 9583907 w 9740963"/>
              <a:gd name="connsiteY373" fmla="*/ 1343200 h 6858000"/>
              <a:gd name="connsiteX374" fmla="*/ 9565421 w 9740963"/>
              <a:gd name="connsiteY374" fmla="*/ 1343200 h 6858000"/>
              <a:gd name="connsiteX375" fmla="*/ 9521653 w 9740963"/>
              <a:gd name="connsiteY375" fmla="*/ 1334363 h 6858000"/>
              <a:gd name="connsiteX376" fmla="*/ 9438473 w 9740963"/>
              <a:gd name="connsiteY376" fmla="*/ 1208876 h 6858000"/>
              <a:gd name="connsiteX377" fmla="*/ 9449177 w 9740963"/>
              <a:gd name="connsiteY377" fmla="*/ 1155864 h 6858000"/>
              <a:gd name="connsiteX378" fmla="*/ 9470329 w 9740963"/>
              <a:gd name="connsiteY378" fmla="*/ 1124490 h 6858000"/>
              <a:gd name="connsiteX379" fmla="*/ 9490279 w 9740963"/>
              <a:gd name="connsiteY379" fmla="*/ 1104541 h 6858000"/>
              <a:gd name="connsiteX380" fmla="*/ 9490281 w 9740963"/>
              <a:gd name="connsiteY380" fmla="*/ 1104539 h 6858000"/>
              <a:gd name="connsiteX381" fmla="*/ 8878787 w 9740963"/>
              <a:gd name="connsiteY381" fmla="*/ 0 h 6858000"/>
              <a:gd name="connsiteX382" fmla="*/ 9740963 w 9740963"/>
              <a:gd name="connsiteY382" fmla="*/ 0 h 6858000"/>
              <a:gd name="connsiteX383" fmla="*/ 9740963 w 9740963"/>
              <a:gd name="connsiteY383" fmla="*/ 671317 h 6858000"/>
              <a:gd name="connsiteX384" fmla="*/ 9104189 w 9740963"/>
              <a:gd name="connsiteY384" fmla="*/ 1308091 h 6858000"/>
              <a:gd name="connsiteX385" fmla="*/ 9067989 w 9740963"/>
              <a:gd name="connsiteY385" fmla="*/ 1332498 h 6858000"/>
              <a:gd name="connsiteX386" fmla="*/ 9014977 w 9740963"/>
              <a:gd name="connsiteY386" fmla="*/ 1343201 h 6858000"/>
              <a:gd name="connsiteX387" fmla="*/ 8878787 w 9740963"/>
              <a:gd name="connsiteY387" fmla="*/ 1207011 h 6858000"/>
              <a:gd name="connsiteX388" fmla="*/ 8878787 w 9740963"/>
              <a:gd name="connsiteY388" fmla="*/ 1207009 h 6858000"/>
              <a:gd name="connsiteX389" fmla="*/ 7218138 w 9740963"/>
              <a:gd name="connsiteY389" fmla="*/ 0 h 6858000"/>
              <a:gd name="connsiteX390" fmla="*/ 8751631 w 9740963"/>
              <a:gd name="connsiteY390" fmla="*/ 0 h 6858000"/>
              <a:gd name="connsiteX391" fmla="*/ 8751631 w 9740963"/>
              <a:gd name="connsiteY391" fmla="*/ 1207009 h 6858000"/>
              <a:gd name="connsiteX392" fmla="*/ 8751631 w 9740963"/>
              <a:gd name="connsiteY392" fmla="*/ 1207011 h 6858000"/>
              <a:gd name="connsiteX393" fmla="*/ 8615441 w 9740963"/>
              <a:gd name="connsiteY393" fmla="*/ 1343201 h 6858000"/>
              <a:gd name="connsiteX394" fmla="*/ 8562429 w 9740963"/>
              <a:gd name="connsiteY394" fmla="*/ 1332498 h 6858000"/>
              <a:gd name="connsiteX395" fmla="*/ 8526229 w 9740963"/>
              <a:gd name="connsiteY395" fmla="*/ 1308091 h 6858000"/>
              <a:gd name="connsiteX396" fmla="*/ 6334079 w 9740963"/>
              <a:gd name="connsiteY396" fmla="*/ 0 h 6858000"/>
              <a:gd name="connsiteX397" fmla="*/ 7035598 w 9740963"/>
              <a:gd name="connsiteY397" fmla="*/ 0 h 6858000"/>
              <a:gd name="connsiteX398" fmla="*/ 8140137 w 9740963"/>
              <a:gd name="connsiteY398" fmla="*/ 1104539 h 6858000"/>
              <a:gd name="connsiteX399" fmla="*/ 8140139 w 9740963"/>
              <a:gd name="connsiteY399" fmla="*/ 1104541 h 6858000"/>
              <a:gd name="connsiteX400" fmla="*/ 8160089 w 9740963"/>
              <a:gd name="connsiteY400" fmla="*/ 1124490 h 6858000"/>
              <a:gd name="connsiteX401" fmla="*/ 8181241 w 9740963"/>
              <a:gd name="connsiteY401" fmla="*/ 1155864 h 6858000"/>
              <a:gd name="connsiteX402" fmla="*/ 8191945 w 9740963"/>
              <a:gd name="connsiteY402" fmla="*/ 1208876 h 6858000"/>
              <a:gd name="connsiteX403" fmla="*/ 8108765 w 9740963"/>
              <a:gd name="connsiteY403" fmla="*/ 1334363 h 6858000"/>
              <a:gd name="connsiteX404" fmla="*/ 8064997 w 9740963"/>
              <a:gd name="connsiteY404" fmla="*/ 1343200 h 6858000"/>
              <a:gd name="connsiteX405" fmla="*/ 8046511 w 9740963"/>
              <a:gd name="connsiteY405" fmla="*/ 1343200 h 6858000"/>
              <a:gd name="connsiteX406" fmla="*/ 8046511 w 9740963"/>
              <a:gd name="connsiteY406" fmla="*/ 1343201 h 6858000"/>
              <a:gd name="connsiteX407" fmla="*/ 6477647 w 9740963"/>
              <a:gd name="connsiteY407" fmla="*/ 1343201 h 6858000"/>
              <a:gd name="connsiteX408" fmla="*/ 6459161 w 9740963"/>
              <a:gd name="connsiteY408" fmla="*/ 1343200 h 6858000"/>
              <a:gd name="connsiteX409" fmla="*/ 6415393 w 9740963"/>
              <a:gd name="connsiteY409" fmla="*/ 1334363 h 6858000"/>
              <a:gd name="connsiteX410" fmla="*/ 6342917 w 9740963"/>
              <a:gd name="connsiteY410" fmla="*/ 1261887 h 6858000"/>
              <a:gd name="connsiteX411" fmla="*/ 6334079 w 9740963"/>
              <a:gd name="connsiteY411" fmla="*/ 1218115 h 6858000"/>
              <a:gd name="connsiteX412" fmla="*/ 6334079 w 9740963"/>
              <a:gd name="connsiteY412" fmla="*/ 1199637 h 6858000"/>
              <a:gd name="connsiteX413" fmla="*/ 6334079 w 9740963"/>
              <a:gd name="connsiteY413" fmla="*/ 1199636 h 6858000"/>
              <a:gd name="connsiteX414" fmla="*/ 5505405 w 9740963"/>
              <a:gd name="connsiteY414" fmla="*/ 0 h 6858000"/>
              <a:gd name="connsiteX415" fmla="*/ 6206923 w 9740963"/>
              <a:gd name="connsiteY415" fmla="*/ 0 h 6858000"/>
              <a:gd name="connsiteX416" fmla="*/ 6206923 w 9740963"/>
              <a:gd name="connsiteY416" fmla="*/ 1199636 h 6858000"/>
              <a:gd name="connsiteX417" fmla="*/ 6206923 w 9740963"/>
              <a:gd name="connsiteY417" fmla="*/ 1199637 h 6858000"/>
              <a:gd name="connsiteX418" fmla="*/ 6206923 w 9740963"/>
              <a:gd name="connsiteY418" fmla="*/ 1218115 h 6858000"/>
              <a:gd name="connsiteX419" fmla="*/ 6198085 w 9740963"/>
              <a:gd name="connsiteY419" fmla="*/ 1261887 h 6858000"/>
              <a:gd name="connsiteX420" fmla="*/ 6125609 w 9740963"/>
              <a:gd name="connsiteY420" fmla="*/ 1334363 h 6858000"/>
              <a:gd name="connsiteX421" fmla="*/ 6081841 w 9740963"/>
              <a:gd name="connsiteY421" fmla="*/ 1343200 h 6858000"/>
              <a:gd name="connsiteX422" fmla="*/ 6063355 w 9740963"/>
              <a:gd name="connsiteY422" fmla="*/ 1343201 h 6858000"/>
              <a:gd name="connsiteX423" fmla="*/ 4494493 w 9740963"/>
              <a:gd name="connsiteY423" fmla="*/ 1343201 h 6858000"/>
              <a:gd name="connsiteX424" fmla="*/ 4494493 w 9740963"/>
              <a:gd name="connsiteY424" fmla="*/ 1343200 h 6858000"/>
              <a:gd name="connsiteX425" fmla="*/ 4476006 w 9740963"/>
              <a:gd name="connsiteY425" fmla="*/ 1343200 h 6858000"/>
              <a:gd name="connsiteX426" fmla="*/ 4432239 w 9740963"/>
              <a:gd name="connsiteY426" fmla="*/ 1334363 h 6858000"/>
              <a:gd name="connsiteX427" fmla="*/ 4349060 w 9740963"/>
              <a:gd name="connsiteY427" fmla="*/ 1208876 h 6858000"/>
              <a:gd name="connsiteX428" fmla="*/ 4359762 w 9740963"/>
              <a:gd name="connsiteY428" fmla="*/ 1155864 h 6858000"/>
              <a:gd name="connsiteX429" fmla="*/ 4380915 w 9740963"/>
              <a:gd name="connsiteY429" fmla="*/ 1124490 h 6858000"/>
              <a:gd name="connsiteX430" fmla="*/ 4400865 w 9740963"/>
              <a:gd name="connsiteY430" fmla="*/ 1104541 h 6858000"/>
              <a:gd name="connsiteX431" fmla="*/ 4400867 w 9740963"/>
              <a:gd name="connsiteY431" fmla="*/ 1104539 h 6858000"/>
              <a:gd name="connsiteX432" fmla="*/ 3789372 w 9740963"/>
              <a:gd name="connsiteY432" fmla="*/ 0 h 6858000"/>
              <a:gd name="connsiteX433" fmla="*/ 5322865 w 9740963"/>
              <a:gd name="connsiteY433" fmla="*/ 0 h 6858000"/>
              <a:gd name="connsiteX434" fmla="*/ 4014775 w 9740963"/>
              <a:gd name="connsiteY434" fmla="*/ 1308091 h 6858000"/>
              <a:gd name="connsiteX435" fmla="*/ 3978576 w 9740963"/>
              <a:gd name="connsiteY435" fmla="*/ 1332498 h 6858000"/>
              <a:gd name="connsiteX436" fmla="*/ 3925564 w 9740963"/>
              <a:gd name="connsiteY436" fmla="*/ 1343201 h 6858000"/>
              <a:gd name="connsiteX437" fmla="*/ 3789372 w 9740963"/>
              <a:gd name="connsiteY437" fmla="*/ 1207011 h 6858000"/>
              <a:gd name="connsiteX438" fmla="*/ 3789372 w 9740963"/>
              <a:gd name="connsiteY438" fmla="*/ 1207009 h 6858000"/>
              <a:gd name="connsiteX439" fmla="*/ 2128722 w 9740963"/>
              <a:gd name="connsiteY439" fmla="*/ 0 h 6858000"/>
              <a:gd name="connsiteX440" fmla="*/ 3662218 w 9740963"/>
              <a:gd name="connsiteY440" fmla="*/ 0 h 6858000"/>
              <a:gd name="connsiteX441" fmla="*/ 3662218 w 9740963"/>
              <a:gd name="connsiteY441" fmla="*/ 1207009 h 6858000"/>
              <a:gd name="connsiteX442" fmla="*/ 3662218 w 9740963"/>
              <a:gd name="connsiteY442" fmla="*/ 1207011 h 6858000"/>
              <a:gd name="connsiteX443" fmla="*/ 3526026 w 9740963"/>
              <a:gd name="connsiteY443" fmla="*/ 1343201 h 6858000"/>
              <a:gd name="connsiteX444" fmla="*/ 3473015 w 9740963"/>
              <a:gd name="connsiteY444" fmla="*/ 1332498 h 6858000"/>
              <a:gd name="connsiteX445" fmla="*/ 3436814 w 9740963"/>
              <a:gd name="connsiteY445" fmla="*/ 1308091 h 6858000"/>
              <a:gd name="connsiteX446" fmla="*/ 1244667 w 9740963"/>
              <a:gd name="connsiteY446" fmla="*/ 0 h 6858000"/>
              <a:gd name="connsiteX447" fmla="*/ 1946188 w 9740963"/>
              <a:gd name="connsiteY447" fmla="*/ 0 h 6858000"/>
              <a:gd name="connsiteX448" fmla="*/ 3050724 w 9740963"/>
              <a:gd name="connsiteY448" fmla="*/ 1104539 h 6858000"/>
              <a:gd name="connsiteX449" fmla="*/ 3050726 w 9740963"/>
              <a:gd name="connsiteY449" fmla="*/ 1104541 h 6858000"/>
              <a:gd name="connsiteX450" fmla="*/ 3070675 w 9740963"/>
              <a:gd name="connsiteY450" fmla="*/ 1124490 h 6858000"/>
              <a:gd name="connsiteX451" fmla="*/ 3091828 w 9740963"/>
              <a:gd name="connsiteY451" fmla="*/ 1155864 h 6858000"/>
              <a:gd name="connsiteX452" fmla="*/ 3102530 w 9740963"/>
              <a:gd name="connsiteY452" fmla="*/ 1208876 h 6858000"/>
              <a:gd name="connsiteX453" fmla="*/ 3019351 w 9740963"/>
              <a:gd name="connsiteY453" fmla="*/ 1334363 h 6858000"/>
              <a:gd name="connsiteX454" fmla="*/ 2975584 w 9740963"/>
              <a:gd name="connsiteY454" fmla="*/ 1343200 h 6858000"/>
              <a:gd name="connsiteX455" fmla="*/ 2957097 w 9740963"/>
              <a:gd name="connsiteY455" fmla="*/ 1343200 h 6858000"/>
              <a:gd name="connsiteX456" fmla="*/ 2957097 w 9740963"/>
              <a:gd name="connsiteY456" fmla="*/ 1343201 h 6858000"/>
              <a:gd name="connsiteX457" fmla="*/ 1388238 w 9740963"/>
              <a:gd name="connsiteY457" fmla="*/ 1343201 h 6858000"/>
              <a:gd name="connsiteX458" fmla="*/ 1369751 w 9740963"/>
              <a:gd name="connsiteY458" fmla="*/ 1343200 h 6858000"/>
              <a:gd name="connsiteX459" fmla="*/ 1325983 w 9740963"/>
              <a:gd name="connsiteY459" fmla="*/ 1334363 h 6858000"/>
              <a:gd name="connsiteX460" fmla="*/ 1253507 w 9740963"/>
              <a:gd name="connsiteY460" fmla="*/ 1261887 h 6858000"/>
              <a:gd name="connsiteX461" fmla="*/ 1244670 w 9740963"/>
              <a:gd name="connsiteY461" fmla="*/ 1218115 h 6858000"/>
              <a:gd name="connsiteX462" fmla="*/ 1244670 w 9740963"/>
              <a:gd name="connsiteY462" fmla="*/ 1199636 h 6858000"/>
              <a:gd name="connsiteX463" fmla="*/ 1244667 w 9740963"/>
              <a:gd name="connsiteY463" fmla="*/ 1199637 h 6858000"/>
              <a:gd name="connsiteX464" fmla="*/ 13126 w 9740963"/>
              <a:gd name="connsiteY464" fmla="*/ 0 h 6858000"/>
              <a:gd name="connsiteX465" fmla="*/ 1128917 w 9740963"/>
              <a:gd name="connsiteY465" fmla="*/ 0 h 6858000"/>
              <a:gd name="connsiteX466" fmla="*/ 1128917 w 9740963"/>
              <a:gd name="connsiteY466" fmla="*/ 783502 h 6858000"/>
              <a:gd name="connsiteX467" fmla="*/ 1128917 w 9740963"/>
              <a:gd name="connsiteY467" fmla="*/ 801988 h 6858000"/>
              <a:gd name="connsiteX468" fmla="*/ 1120079 w 9740963"/>
              <a:gd name="connsiteY468" fmla="*/ 845757 h 6858000"/>
              <a:gd name="connsiteX469" fmla="*/ 994592 w 9740963"/>
              <a:gd name="connsiteY469" fmla="*/ 928936 h 6858000"/>
              <a:gd name="connsiteX470" fmla="*/ 941580 w 9740963"/>
              <a:gd name="connsiteY470" fmla="*/ 918233 h 6858000"/>
              <a:gd name="connsiteX471" fmla="*/ 910206 w 9740963"/>
              <a:gd name="connsiteY471" fmla="*/ 897080 h 6858000"/>
              <a:gd name="connsiteX472" fmla="*/ 890257 w 9740963"/>
              <a:gd name="connsiteY472" fmla="*/ 877131 h 6858000"/>
              <a:gd name="connsiteX473" fmla="*/ 890255 w 9740963"/>
              <a:gd name="connsiteY473" fmla="*/ 87712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Lst>
            <a:rect l="l" t="t" r="r" b="b"/>
            <a:pathLst>
              <a:path w="9740963" h="6858000">
                <a:moveTo>
                  <a:pt x="981316" y="5930787"/>
                </a:moveTo>
                <a:cubicBezTo>
                  <a:pt x="1056532" y="5930787"/>
                  <a:pt x="1117507" y="5991762"/>
                  <a:pt x="1117507" y="6066978"/>
                </a:cubicBezTo>
                <a:lnTo>
                  <a:pt x="1117507" y="6066979"/>
                </a:lnTo>
                <a:lnTo>
                  <a:pt x="1117507" y="6858000"/>
                </a:lnTo>
                <a:lnTo>
                  <a:pt x="0" y="6858000"/>
                </a:lnTo>
                <a:lnTo>
                  <a:pt x="892104" y="5965897"/>
                </a:lnTo>
                <a:lnTo>
                  <a:pt x="928305" y="5941490"/>
                </a:lnTo>
                <a:cubicBezTo>
                  <a:pt x="944598" y="5934598"/>
                  <a:pt x="962512" y="5930787"/>
                  <a:pt x="981316" y="5930787"/>
                </a:cubicBezTo>
                <a:close/>
                <a:moveTo>
                  <a:pt x="9583907" y="5514803"/>
                </a:moveTo>
                <a:lnTo>
                  <a:pt x="9740963" y="5514803"/>
                </a:lnTo>
                <a:lnTo>
                  <a:pt x="9740963" y="6004147"/>
                </a:lnTo>
                <a:lnTo>
                  <a:pt x="9490281" y="5753466"/>
                </a:lnTo>
                <a:cubicBezTo>
                  <a:pt x="9490281" y="5753465"/>
                  <a:pt x="9490279" y="5753465"/>
                  <a:pt x="9490279" y="5753464"/>
                </a:cubicBezTo>
                <a:lnTo>
                  <a:pt x="9470329" y="5733515"/>
                </a:lnTo>
                <a:lnTo>
                  <a:pt x="9449177" y="5702140"/>
                </a:lnTo>
                <a:cubicBezTo>
                  <a:pt x="9442285" y="5685846"/>
                  <a:pt x="9438473" y="5667933"/>
                  <a:pt x="9438473" y="5649129"/>
                </a:cubicBezTo>
                <a:cubicBezTo>
                  <a:pt x="9438473" y="5592716"/>
                  <a:pt x="9472773" y="5544315"/>
                  <a:pt x="9521653" y="5523641"/>
                </a:cubicBezTo>
                <a:lnTo>
                  <a:pt x="9565421" y="5514804"/>
                </a:lnTo>
                <a:lnTo>
                  <a:pt x="9583907" y="5514804"/>
                </a:lnTo>
                <a:close/>
                <a:moveTo>
                  <a:pt x="9014977" y="5514803"/>
                </a:moveTo>
                <a:cubicBezTo>
                  <a:pt x="9033781" y="5514803"/>
                  <a:pt x="9051695" y="5518614"/>
                  <a:pt x="9067989" y="5525506"/>
                </a:cubicBezTo>
                <a:lnTo>
                  <a:pt x="9104189" y="5549913"/>
                </a:lnTo>
                <a:lnTo>
                  <a:pt x="9740963" y="6186687"/>
                </a:lnTo>
                <a:lnTo>
                  <a:pt x="9740963" y="6858000"/>
                </a:lnTo>
                <a:lnTo>
                  <a:pt x="8878787" y="6858000"/>
                </a:lnTo>
                <a:lnTo>
                  <a:pt x="8878787" y="5650995"/>
                </a:lnTo>
                <a:lnTo>
                  <a:pt x="8878787" y="5650994"/>
                </a:lnTo>
                <a:cubicBezTo>
                  <a:pt x="8878787" y="5575778"/>
                  <a:pt x="8939761" y="5514803"/>
                  <a:pt x="9014977" y="5514803"/>
                </a:cubicBezTo>
                <a:close/>
                <a:moveTo>
                  <a:pt x="8615441" y="5514803"/>
                </a:moveTo>
                <a:cubicBezTo>
                  <a:pt x="8690657" y="5514803"/>
                  <a:pt x="8751631" y="5575778"/>
                  <a:pt x="8751631" y="5650994"/>
                </a:cubicBezTo>
                <a:lnTo>
                  <a:pt x="8751631" y="5650995"/>
                </a:lnTo>
                <a:lnTo>
                  <a:pt x="8751631" y="6858000"/>
                </a:lnTo>
                <a:lnTo>
                  <a:pt x="7218142" y="6858000"/>
                </a:lnTo>
                <a:lnTo>
                  <a:pt x="8526229" y="5549913"/>
                </a:lnTo>
                <a:lnTo>
                  <a:pt x="8562429" y="5525506"/>
                </a:lnTo>
                <a:cubicBezTo>
                  <a:pt x="8578723" y="5518614"/>
                  <a:pt x="8596637" y="5514803"/>
                  <a:pt x="8615441" y="5514803"/>
                </a:cubicBezTo>
                <a:close/>
                <a:moveTo>
                  <a:pt x="6477647" y="5514803"/>
                </a:moveTo>
                <a:lnTo>
                  <a:pt x="8046511" y="5514803"/>
                </a:lnTo>
                <a:lnTo>
                  <a:pt x="8046511" y="5514804"/>
                </a:lnTo>
                <a:lnTo>
                  <a:pt x="8064997" y="5514804"/>
                </a:lnTo>
                <a:lnTo>
                  <a:pt x="8108765" y="5523641"/>
                </a:lnTo>
                <a:cubicBezTo>
                  <a:pt x="8157647" y="5544315"/>
                  <a:pt x="8191945" y="5592716"/>
                  <a:pt x="8191945" y="5649129"/>
                </a:cubicBezTo>
                <a:cubicBezTo>
                  <a:pt x="8191945" y="5667933"/>
                  <a:pt x="8188133" y="5685846"/>
                  <a:pt x="8181241" y="5702140"/>
                </a:cubicBezTo>
                <a:lnTo>
                  <a:pt x="8160089" y="5733515"/>
                </a:lnTo>
                <a:lnTo>
                  <a:pt x="8140139" y="5753464"/>
                </a:lnTo>
                <a:cubicBezTo>
                  <a:pt x="8140139" y="5753465"/>
                  <a:pt x="8140139" y="5753465"/>
                  <a:pt x="8140137" y="5753466"/>
                </a:cubicBezTo>
                <a:lnTo>
                  <a:pt x="7035602" y="6858000"/>
                </a:lnTo>
                <a:lnTo>
                  <a:pt x="6334079" y="6858000"/>
                </a:lnTo>
                <a:lnTo>
                  <a:pt x="6334079" y="5658368"/>
                </a:lnTo>
                <a:lnTo>
                  <a:pt x="6334079" y="5658367"/>
                </a:lnTo>
                <a:lnTo>
                  <a:pt x="6334079" y="5639889"/>
                </a:lnTo>
                <a:lnTo>
                  <a:pt x="6342917" y="5596117"/>
                </a:lnTo>
                <a:cubicBezTo>
                  <a:pt x="6356699" y="5563529"/>
                  <a:pt x="6382805" y="5537423"/>
                  <a:pt x="6415393" y="5523641"/>
                </a:cubicBezTo>
                <a:lnTo>
                  <a:pt x="6459161" y="5514804"/>
                </a:lnTo>
                <a:close/>
                <a:moveTo>
                  <a:pt x="4494492" y="5514803"/>
                </a:moveTo>
                <a:lnTo>
                  <a:pt x="6063355" y="5514803"/>
                </a:lnTo>
                <a:lnTo>
                  <a:pt x="6081841" y="5514804"/>
                </a:lnTo>
                <a:lnTo>
                  <a:pt x="6125609" y="5523641"/>
                </a:lnTo>
                <a:cubicBezTo>
                  <a:pt x="6158197" y="5537423"/>
                  <a:pt x="6184303" y="5563529"/>
                  <a:pt x="6198085" y="5596117"/>
                </a:cubicBezTo>
                <a:lnTo>
                  <a:pt x="6206923" y="5639889"/>
                </a:lnTo>
                <a:lnTo>
                  <a:pt x="6206923" y="5658367"/>
                </a:lnTo>
                <a:lnTo>
                  <a:pt x="6206923" y="5658368"/>
                </a:lnTo>
                <a:lnTo>
                  <a:pt x="6206923" y="6858000"/>
                </a:lnTo>
                <a:lnTo>
                  <a:pt x="5505401" y="6858000"/>
                </a:lnTo>
                <a:lnTo>
                  <a:pt x="4400866" y="5753466"/>
                </a:lnTo>
                <a:cubicBezTo>
                  <a:pt x="4400864" y="5753465"/>
                  <a:pt x="4400864" y="5753465"/>
                  <a:pt x="4400863" y="5753464"/>
                </a:cubicBezTo>
                <a:lnTo>
                  <a:pt x="4380913" y="5733515"/>
                </a:lnTo>
                <a:lnTo>
                  <a:pt x="4359762" y="5702140"/>
                </a:lnTo>
                <a:cubicBezTo>
                  <a:pt x="4352869" y="5685846"/>
                  <a:pt x="4349058" y="5667933"/>
                  <a:pt x="4349058" y="5649129"/>
                </a:cubicBezTo>
                <a:cubicBezTo>
                  <a:pt x="4349058" y="5592716"/>
                  <a:pt x="4383357" y="5544315"/>
                  <a:pt x="4432238" y="5523641"/>
                </a:cubicBezTo>
                <a:lnTo>
                  <a:pt x="4476005" y="5514804"/>
                </a:lnTo>
                <a:lnTo>
                  <a:pt x="4494492" y="5514804"/>
                </a:lnTo>
                <a:close/>
                <a:moveTo>
                  <a:pt x="3925562" y="5514803"/>
                </a:moveTo>
                <a:cubicBezTo>
                  <a:pt x="3944366" y="5514803"/>
                  <a:pt x="3962279" y="5518614"/>
                  <a:pt x="3978574" y="5525506"/>
                </a:cubicBezTo>
                <a:lnTo>
                  <a:pt x="4014774" y="5549913"/>
                </a:lnTo>
                <a:lnTo>
                  <a:pt x="5322861" y="6858000"/>
                </a:lnTo>
                <a:lnTo>
                  <a:pt x="3789371" y="6858000"/>
                </a:lnTo>
                <a:lnTo>
                  <a:pt x="3789371" y="5650995"/>
                </a:lnTo>
                <a:lnTo>
                  <a:pt x="3789371" y="5650994"/>
                </a:lnTo>
                <a:cubicBezTo>
                  <a:pt x="3789371" y="5575778"/>
                  <a:pt x="3850345" y="5514803"/>
                  <a:pt x="3925562" y="5514803"/>
                </a:cubicBezTo>
                <a:close/>
                <a:moveTo>
                  <a:pt x="3526025" y="5514803"/>
                </a:moveTo>
                <a:cubicBezTo>
                  <a:pt x="3601241" y="5514803"/>
                  <a:pt x="3662216" y="5575778"/>
                  <a:pt x="3662216" y="5650994"/>
                </a:cubicBezTo>
                <a:lnTo>
                  <a:pt x="3662216" y="5650995"/>
                </a:lnTo>
                <a:lnTo>
                  <a:pt x="3662216" y="6858000"/>
                </a:lnTo>
                <a:lnTo>
                  <a:pt x="2128725" y="6858000"/>
                </a:lnTo>
                <a:lnTo>
                  <a:pt x="3436813" y="5549913"/>
                </a:lnTo>
                <a:lnTo>
                  <a:pt x="3473013" y="5525506"/>
                </a:lnTo>
                <a:cubicBezTo>
                  <a:pt x="3489307" y="5518614"/>
                  <a:pt x="3507221" y="5514803"/>
                  <a:pt x="3526025" y="5514803"/>
                </a:cubicBezTo>
                <a:close/>
                <a:moveTo>
                  <a:pt x="1388232" y="5514803"/>
                </a:moveTo>
                <a:lnTo>
                  <a:pt x="2957095" y="5514803"/>
                </a:lnTo>
                <a:lnTo>
                  <a:pt x="2957095" y="5514804"/>
                </a:lnTo>
                <a:lnTo>
                  <a:pt x="2975581" y="5514804"/>
                </a:lnTo>
                <a:lnTo>
                  <a:pt x="3019349" y="5523641"/>
                </a:lnTo>
                <a:cubicBezTo>
                  <a:pt x="3068230" y="5544315"/>
                  <a:pt x="3102529" y="5592716"/>
                  <a:pt x="3102529" y="5649129"/>
                </a:cubicBezTo>
                <a:cubicBezTo>
                  <a:pt x="3102529" y="5667933"/>
                  <a:pt x="3098718" y="5685846"/>
                  <a:pt x="3091826" y="5702140"/>
                </a:cubicBezTo>
                <a:lnTo>
                  <a:pt x="3070674" y="5733515"/>
                </a:lnTo>
                <a:lnTo>
                  <a:pt x="3050724" y="5753464"/>
                </a:lnTo>
                <a:cubicBezTo>
                  <a:pt x="3050723" y="5753465"/>
                  <a:pt x="3050722" y="5753465"/>
                  <a:pt x="3050722" y="5753466"/>
                </a:cubicBezTo>
                <a:lnTo>
                  <a:pt x="1946187" y="6858000"/>
                </a:lnTo>
                <a:lnTo>
                  <a:pt x="1244663" y="6858000"/>
                </a:lnTo>
                <a:lnTo>
                  <a:pt x="1244663" y="5658367"/>
                </a:lnTo>
                <a:lnTo>
                  <a:pt x="1244664" y="5658368"/>
                </a:lnTo>
                <a:lnTo>
                  <a:pt x="1244664" y="5639889"/>
                </a:lnTo>
                <a:lnTo>
                  <a:pt x="1253501" y="5596117"/>
                </a:lnTo>
                <a:cubicBezTo>
                  <a:pt x="1267285" y="5563529"/>
                  <a:pt x="1293391" y="5537423"/>
                  <a:pt x="1325978" y="5523641"/>
                </a:cubicBezTo>
                <a:lnTo>
                  <a:pt x="1369746" y="5514804"/>
                </a:lnTo>
                <a:close/>
                <a:moveTo>
                  <a:pt x="9583907" y="3506125"/>
                </a:moveTo>
                <a:lnTo>
                  <a:pt x="9740963" y="3506125"/>
                </a:lnTo>
                <a:lnTo>
                  <a:pt x="9740963" y="3995469"/>
                </a:lnTo>
                <a:lnTo>
                  <a:pt x="9490281" y="3744788"/>
                </a:lnTo>
                <a:cubicBezTo>
                  <a:pt x="9490281" y="3744787"/>
                  <a:pt x="9490279" y="3744787"/>
                  <a:pt x="9490279" y="3744786"/>
                </a:cubicBezTo>
                <a:lnTo>
                  <a:pt x="9470329" y="3724837"/>
                </a:lnTo>
                <a:lnTo>
                  <a:pt x="9449177" y="3693462"/>
                </a:lnTo>
                <a:cubicBezTo>
                  <a:pt x="9442285" y="3677168"/>
                  <a:pt x="9438473" y="3659255"/>
                  <a:pt x="9438473" y="3640451"/>
                </a:cubicBezTo>
                <a:cubicBezTo>
                  <a:pt x="9438473" y="3584038"/>
                  <a:pt x="9472773" y="3535637"/>
                  <a:pt x="9521653" y="3514963"/>
                </a:cubicBezTo>
                <a:lnTo>
                  <a:pt x="9565421" y="3506126"/>
                </a:lnTo>
                <a:lnTo>
                  <a:pt x="9583907" y="3506126"/>
                </a:lnTo>
                <a:close/>
                <a:moveTo>
                  <a:pt x="9014977" y="3506125"/>
                </a:moveTo>
                <a:cubicBezTo>
                  <a:pt x="9033781" y="3506125"/>
                  <a:pt x="9051695" y="3509936"/>
                  <a:pt x="9067989" y="3516828"/>
                </a:cubicBezTo>
                <a:lnTo>
                  <a:pt x="9104189" y="3541235"/>
                </a:lnTo>
                <a:lnTo>
                  <a:pt x="9740963" y="4178008"/>
                </a:lnTo>
                <a:lnTo>
                  <a:pt x="9740963" y="5360553"/>
                </a:lnTo>
                <a:lnTo>
                  <a:pt x="9022355" y="5360553"/>
                </a:lnTo>
                <a:lnTo>
                  <a:pt x="9003869" y="5360552"/>
                </a:lnTo>
                <a:lnTo>
                  <a:pt x="8960101" y="5351716"/>
                </a:lnTo>
                <a:cubicBezTo>
                  <a:pt x="8927513" y="5337933"/>
                  <a:pt x="8901407" y="5311827"/>
                  <a:pt x="8887625" y="5279239"/>
                </a:cubicBezTo>
                <a:lnTo>
                  <a:pt x="8878787" y="5235467"/>
                </a:lnTo>
                <a:lnTo>
                  <a:pt x="8878787" y="5216989"/>
                </a:lnTo>
                <a:lnTo>
                  <a:pt x="8878787" y="5216988"/>
                </a:lnTo>
                <a:lnTo>
                  <a:pt x="8878787" y="3642317"/>
                </a:lnTo>
                <a:lnTo>
                  <a:pt x="8878787" y="3642316"/>
                </a:lnTo>
                <a:cubicBezTo>
                  <a:pt x="8878787" y="3567100"/>
                  <a:pt x="8939761" y="3506125"/>
                  <a:pt x="9014977" y="3506125"/>
                </a:cubicBezTo>
                <a:close/>
                <a:moveTo>
                  <a:pt x="8615441" y="3506125"/>
                </a:moveTo>
                <a:cubicBezTo>
                  <a:pt x="8690657" y="3506125"/>
                  <a:pt x="8751631" y="3567100"/>
                  <a:pt x="8751631" y="3642316"/>
                </a:cubicBezTo>
                <a:lnTo>
                  <a:pt x="8751631" y="3642317"/>
                </a:lnTo>
                <a:lnTo>
                  <a:pt x="8751631" y="5216988"/>
                </a:lnTo>
                <a:lnTo>
                  <a:pt x="8751631" y="5216989"/>
                </a:lnTo>
                <a:lnTo>
                  <a:pt x="8751631" y="5235467"/>
                </a:lnTo>
                <a:lnTo>
                  <a:pt x="8742793" y="5279239"/>
                </a:lnTo>
                <a:cubicBezTo>
                  <a:pt x="8729011" y="5311827"/>
                  <a:pt x="8702905" y="5337933"/>
                  <a:pt x="8670317" y="5351716"/>
                </a:cubicBezTo>
                <a:lnTo>
                  <a:pt x="8626549" y="5360552"/>
                </a:lnTo>
                <a:lnTo>
                  <a:pt x="8608063" y="5360553"/>
                </a:lnTo>
                <a:lnTo>
                  <a:pt x="7039199" y="5360553"/>
                </a:lnTo>
                <a:lnTo>
                  <a:pt x="7039199" y="5360552"/>
                </a:lnTo>
                <a:lnTo>
                  <a:pt x="7020713" y="5360552"/>
                </a:lnTo>
                <a:lnTo>
                  <a:pt x="6976945" y="5351716"/>
                </a:lnTo>
                <a:cubicBezTo>
                  <a:pt x="6928065" y="5331042"/>
                  <a:pt x="6893765" y="5282640"/>
                  <a:pt x="6893765" y="5226228"/>
                </a:cubicBezTo>
                <a:cubicBezTo>
                  <a:pt x="6893765" y="5207424"/>
                  <a:pt x="6897577" y="5189510"/>
                  <a:pt x="6904469" y="5173216"/>
                </a:cubicBezTo>
                <a:lnTo>
                  <a:pt x="6925621" y="5141842"/>
                </a:lnTo>
                <a:lnTo>
                  <a:pt x="6945571" y="5121892"/>
                </a:lnTo>
                <a:cubicBezTo>
                  <a:pt x="6945571" y="5121892"/>
                  <a:pt x="6945573" y="5121892"/>
                  <a:pt x="6945573" y="5121891"/>
                </a:cubicBezTo>
                <a:lnTo>
                  <a:pt x="8526229" y="3541235"/>
                </a:lnTo>
                <a:lnTo>
                  <a:pt x="8562429" y="3516828"/>
                </a:lnTo>
                <a:cubicBezTo>
                  <a:pt x="8578723" y="3509936"/>
                  <a:pt x="8596637" y="3506125"/>
                  <a:pt x="8615441" y="3506125"/>
                </a:cubicBezTo>
                <a:close/>
                <a:moveTo>
                  <a:pt x="6477647" y="3506125"/>
                </a:moveTo>
                <a:lnTo>
                  <a:pt x="8046511" y="3506125"/>
                </a:lnTo>
                <a:lnTo>
                  <a:pt x="8046511" y="3506126"/>
                </a:lnTo>
                <a:lnTo>
                  <a:pt x="8064997" y="3506126"/>
                </a:lnTo>
                <a:lnTo>
                  <a:pt x="8108765" y="3514963"/>
                </a:lnTo>
                <a:cubicBezTo>
                  <a:pt x="8157647" y="3535637"/>
                  <a:pt x="8191945" y="3584038"/>
                  <a:pt x="8191945" y="3640451"/>
                </a:cubicBezTo>
                <a:cubicBezTo>
                  <a:pt x="8191945" y="3659255"/>
                  <a:pt x="8188133" y="3677168"/>
                  <a:pt x="8181241" y="3693462"/>
                </a:cubicBezTo>
                <a:lnTo>
                  <a:pt x="8160089" y="3724837"/>
                </a:lnTo>
                <a:lnTo>
                  <a:pt x="8140139" y="3744786"/>
                </a:lnTo>
                <a:cubicBezTo>
                  <a:pt x="8140139" y="3744787"/>
                  <a:pt x="8140139" y="3744787"/>
                  <a:pt x="8140137" y="3744788"/>
                </a:cubicBezTo>
                <a:lnTo>
                  <a:pt x="6559481" y="5325443"/>
                </a:lnTo>
                <a:lnTo>
                  <a:pt x="6523281" y="5349850"/>
                </a:lnTo>
                <a:cubicBezTo>
                  <a:pt x="6506987" y="5356742"/>
                  <a:pt x="6489073" y="5360553"/>
                  <a:pt x="6470269" y="5360553"/>
                </a:cubicBezTo>
                <a:cubicBezTo>
                  <a:pt x="6395053" y="5360553"/>
                  <a:pt x="6334079" y="5299579"/>
                  <a:pt x="6334079" y="5224362"/>
                </a:cubicBezTo>
                <a:lnTo>
                  <a:pt x="6334079" y="3649690"/>
                </a:lnTo>
                <a:lnTo>
                  <a:pt x="6334079" y="3649689"/>
                </a:lnTo>
                <a:lnTo>
                  <a:pt x="6334079" y="3631211"/>
                </a:lnTo>
                <a:lnTo>
                  <a:pt x="6342917" y="3587439"/>
                </a:lnTo>
                <a:cubicBezTo>
                  <a:pt x="6356699" y="3554851"/>
                  <a:pt x="6382805" y="3528745"/>
                  <a:pt x="6415393" y="3514963"/>
                </a:cubicBezTo>
                <a:lnTo>
                  <a:pt x="6459161" y="3506126"/>
                </a:lnTo>
                <a:close/>
                <a:moveTo>
                  <a:pt x="4494492" y="3506125"/>
                </a:moveTo>
                <a:lnTo>
                  <a:pt x="6063355" y="3506125"/>
                </a:lnTo>
                <a:lnTo>
                  <a:pt x="6081841" y="3506126"/>
                </a:lnTo>
                <a:lnTo>
                  <a:pt x="6125609" y="3514963"/>
                </a:lnTo>
                <a:cubicBezTo>
                  <a:pt x="6158197" y="3528745"/>
                  <a:pt x="6184303" y="3554851"/>
                  <a:pt x="6198085" y="3587439"/>
                </a:cubicBezTo>
                <a:lnTo>
                  <a:pt x="6206923" y="3631211"/>
                </a:lnTo>
                <a:lnTo>
                  <a:pt x="6206923" y="3649689"/>
                </a:lnTo>
                <a:lnTo>
                  <a:pt x="6206923" y="3649690"/>
                </a:lnTo>
                <a:lnTo>
                  <a:pt x="6206923" y="5224362"/>
                </a:lnTo>
                <a:cubicBezTo>
                  <a:pt x="6206923" y="5299579"/>
                  <a:pt x="6145949" y="5360553"/>
                  <a:pt x="6070733" y="5360553"/>
                </a:cubicBezTo>
                <a:cubicBezTo>
                  <a:pt x="6051929" y="5360553"/>
                  <a:pt x="6034015" y="5356742"/>
                  <a:pt x="6017721" y="5349850"/>
                </a:cubicBezTo>
                <a:lnTo>
                  <a:pt x="5981521" y="5325443"/>
                </a:lnTo>
                <a:lnTo>
                  <a:pt x="4400866" y="3744788"/>
                </a:lnTo>
                <a:cubicBezTo>
                  <a:pt x="4400864" y="3744787"/>
                  <a:pt x="4400864" y="3744787"/>
                  <a:pt x="4400864" y="3744786"/>
                </a:cubicBezTo>
                <a:lnTo>
                  <a:pt x="4380913" y="3724837"/>
                </a:lnTo>
                <a:lnTo>
                  <a:pt x="4359762" y="3693462"/>
                </a:lnTo>
                <a:cubicBezTo>
                  <a:pt x="4352870" y="3677168"/>
                  <a:pt x="4349058" y="3659255"/>
                  <a:pt x="4349058" y="3640451"/>
                </a:cubicBezTo>
                <a:cubicBezTo>
                  <a:pt x="4349058" y="3584038"/>
                  <a:pt x="4383357" y="3535637"/>
                  <a:pt x="4432239" y="3514963"/>
                </a:cubicBezTo>
                <a:lnTo>
                  <a:pt x="4476005" y="3506126"/>
                </a:lnTo>
                <a:lnTo>
                  <a:pt x="4494492" y="3506126"/>
                </a:lnTo>
                <a:close/>
                <a:moveTo>
                  <a:pt x="3925563" y="3506125"/>
                </a:moveTo>
                <a:cubicBezTo>
                  <a:pt x="3944366" y="3506125"/>
                  <a:pt x="3962280" y="3509936"/>
                  <a:pt x="3978574" y="3516828"/>
                </a:cubicBezTo>
                <a:lnTo>
                  <a:pt x="4014774" y="3541235"/>
                </a:lnTo>
                <a:lnTo>
                  <a:pt x="5595430" y="5121891"/>
                </a:lnTo>
                <a:cubicBezTo>
                  <a:pt x="5595430" y="5121892"/>
                  <a:pt x="5595431" y="5121892"/>
                  <a:pt x="5595432" y="5121892"/>
                </a:cubicBezTo>
                <a:lnTo>
                  <a:pt x="5615381" y="5141842"/>
                </a:lnTo>
                <a:lnTo>
                  <a:pt x="5636534" y="5173216"/>
                </a:lnTo>
                <a:cubicBezTo>
                  <a:pt x="5643426" y="5189510"/>
                  <a:pt x="5647237" y="5207424"/>
                  <a:pt x="5647237" y="5226228"/>
                </a:cubicBezTo>
                <a:cubicBezTo>
                  <a:pt x="5647237" y="5282640"/>
                  <a:pt x="5612938" y="5331042"/>
                  <a:pt x="5564057" y="5351716"/>
                </a:cubicBezTo>
                <a:lnTo>
                  <a:pt x="5520289" y="5360552"/>
                </a:lnTo>
                <a:lnTo>
                  <a:pt x="5501803" y="5360552"/>
                </a:lnTo>
                <a:lnTo>
                  <a:pt x="5501803" y="5360553"/>
                </a:lnTo>
                <a:lnTo>
                  <a:pt x="3932940" y="5360553"/>
                </a:lnTo>
                <a:lnTo>
                  <a:pt x="3914454" y="5360552"/>
                </a:lnTo>
                <a:lnTo>
                  <a:pt x="3870687" y="5351716"/>
                </a:lnTo>
                <a:cubicBezTo>
                  <a:pt x="3838098" y="5337933"/>
                  <a:pt x="3811993" y="5311827"/>
                  <a:pt x="3798210" y="5279239"/>
                </a:cubicBezTo>
                <a:lnTo>
                  <a:pt x="3789372" y="5235467"/>
                </a:lnTo>
                <a:lnTo>
                  <a:pt x="3789372" y="5216988"/>
                </a:lnTo>
                <a:lnTo>
                  <a:pt x="3789371" y="5216989"/>
                </a:lnTo>
                <a:lnTo>
                  <a:pt x="3789371" y="3642317"/>
                </a:lnTo>
                <a:lnTo>
                  <a:pt x="3789371" y="3642316"/>
                </a:lnTo>
                <a:cubicBezTo>
                  <a:pt x="3789371" y="3567100"/>
                  <a:pt x="3850346" y="3506125"/>
                  <a:pt x="3925563" y="3506125"/>
                </a:cubicBezTo>
                <a:close/>
                <a:moveTo>
                  <a:pt x="3526024" y="3506125"/>
                </a:moveTo>
                <a:cubicBezTo>
                  <a:pt x="3601241" y="3506125"/>
                  <a:pt x="3662215" y="3567100"/>
                  <a:pt x="3662215" y="3642316"/>
                </a:cubicBezTo>
                <a:lnTo>
                  <a:pt x="3662215" y="3642317"/>
                </a:lnTo>
                <a:lnTo>
                  <a:pt x="3662215" y="5216988"/>
                </a:lnTo>
                <a:lnTo>
                  <a:pt x="3662215" y="5216989"/>
                </a:lnTo>
                <a:lnTo>
                  <a:pt x="3662215" y="5235467"/>
                </a:lnTo>
                <a:lnTo>
                  <a:pt x="3653377" y="5279239"/>
                </a:lnTo>
                <a:cubicBezTo>
                  <a:pt x="3639594" y="5311827"/>
                  <a:pt x="3613489" y="5337933"/>
                  <a:pt x="3580900" y="5351716"/>
                </a:cubicBezTo>
                <a:lnTo>
                  <a:pt x="3537132" y="5360552"/>
                </a:lnTo>
                <a:lnTo>
                  <a:pt x="3518647" y="5360553"/>
                </a:lnTo>
                <a:lnTo>
                  <a:pt x="1949784" y="5360553"/>
                </a:lnTo>
                <a:lnTo>
                  <a:pt x="1949784" y="5360552"/>
                </a:lnTo>
                <a:lnTo>
                  <a:pt x="1931296" y="5360552"/>
                </a:lnTo>
                <a:lnTo>
                  <a:pt x="1887528" y="5351716"/>
                </a:lnTo>
                <a:cubicBezTo>
                  <a:pt x="1838647" y="5331042"/>
                  <a:pt x="1804350" y="5282640"/>
                  <a:pt x="1804350" y="5226228"/>
                </a:cubicBezTo>
                <a:cubicBezTo>
                  <a:pt x="1804350" y="5207424"/>
                  <a:pt x="1808160" y="5189510"/>
                  <a:pt x="1815052" y="5173216"/>
                </a:cubicBezTo>
                <a:lnTo>
                  <a:pt x="1836205" y="5141842"/>
                </a:lnTo>
                <a:lnTo>
                  <a:pt x="1856154" y="5121892"/>
                </a:lnTo>
                <a:cubicBezTo>
                  <a:pt x="1856156" y="5121892"/>
                  <a:pt x="1856156" y="5121892"/>
                  <a:pt x="1856156" y="5121891"/>
                </a:cubicBezTo>
                <a:lnTo>
                  <a:pt x="3436812" y="3541235"/>
                </a:lnTo>
                <a:lnTo>
                  <a:pt x="3473013" y="3516828"/>
                </a:lnTo>
                <a:cubicBezTo>
                  <a:pt x="3489307" y="3509936"/>
                  <a:pt x="3507220" y="3506125"/>
                  <a:pt x="3526024" y="3506125"/>
                </a:cubicBezTo>
                <a:close/>
                <a:moveTo>
                  <a:pt x="9740963" y="2862533"/>
                </a:moveTo>
                <a:lnTo>
                  <a:pt x="9740963" y="3351876"/>
                </a:lnTo>
                <a:lnTo>
                  <a:pt x="9583907" y="3351876"/>
                </a:lnTo>
                <a:lnTo>
                  <a:pt x="9583907" y="3351875"/>
                </a:lnTo>
                <a:lnTo>
                  <a:pt x="9565421" y="3351875"/>
                </a:lnTo>
                <a:lnTo>
                  <a:pt x="9521653" y="3343039"/>
                </a:lnTo>
                <a:cubicBezTo>
                  <a:pt x="9472773" y="3322365"/>
                  <a:pt x="9438473" y="3273963"/>
                  <a:pt x="9438473" y="3217551"/>
                </a:cubicBezTo>
                <a:cubicBezTo>
                  <a:pt x="9438473" y="3198748"/>
                  <a:pt x="9442285" y="3180834"/>
                  <a:pt x="9449177" y="3164541"/>
                </a:cubicBezTo>
                <a:lnTo>
                  <a:pt x="9470329" y="3133166"/>
                </a:lnTo>
                <a:lnTo>
                  <a:pt x="9490279" y="3113216"/>
                </a:lnTo>
                <a:cubicBezTo>
                  <a:pt x="9490279" y="3113216"/>
                  <a:pt x="9490281" y="3113216"/>
                  <a:pt x="9490281" y="3113215"/>
                </a:cubicBezTo>
                <a:close/>
                <a:moveTo>
                  <a:pt x="9022355" y="1497450"/>
                </a:moveTo>
                <a:lnTo>
                  <a:pt x="9740963" y="1497450"/>
                </a:lnTo>
                <a:lnTo>
                  <a:pt x="9740963" y="2679993"/>
                </a:lnTo>
                <a:lnTo>
                  <a:pt x="9104189" y="3316766"/>
                </a:lnTo>
                <a:lnTo>
                  <a:pt x="9067989" y="3341173"/>
                </a:lnTo>
                <a:cubicBezTo>
                  <a:pt x="9051695" y="3348066"/>
                  <a:pt x="9033781" y="3351876"/>
                  <a:pt x="9014977" y="3351876"/>
                </a:cubicBezTo>
                <a:cubicBezTo>
                  <a:pt x="8939761" y="3351876"/>
                  <a:pt x="8878787" y="3290902"/>
                  <a:pt x="8878787" y="3215686"/>
                </a:cubicBezTo>
                <a:lnTo>
                  <a:pt x="8878787" y="3215685"/>
                </a:lnTo>
                <a:lnTo>
                  <a:pt x="8878787" y="1641015"/>
                </a:lnTo>
                <a:lnTo>
                  <a:pt x="8878787" y="1641014"/>
                </a:lnTo>
                <a:lnTo>
                  <a:pt x="8878787" y="1622536"/>
                </a:lnTo>
                <a:lnTo>
                  <a:pt x="8887625" y="1578764"/>
                </a:lnTo>
                <a:cubicBezTo>
                  <a:pt x="8901407" y="1546176"/>
                  <a:pt x="8927513" y="1520070"/>
                  <a:pt x="8960101" y="1506287"/>
                </a:cubicBezTo>
                <a:lnTo>
                  <a:pt x="9003869" y="1497451"/>
                </a:lnTo>
                <a:close/>
                <a:moveTo>
                  <a:pt x="7039199" y="1497450"/>
                </a:moveTo>
                <a:lnTo>
                  <a:pt x="8608063" y="1497450"/>
                </a:lnTo>
                <a:lnTo>
                  <a:pt x="8626549" y="1497451"/>
                </a:lnTo>
                <a:lnTo>
                  <a:pt x="8670317" y="1506287"/>
                </a:lnTo>
                <a:cubicBezTo>
                  <a:pt x="8702905" y="1520070"/>
                  <a:pt x="8729011" y="1546176"/>
                  <a:pt x="8742793" y="1578764"/>
                </a:cubicBezTo>
                <a:lnTo>
                  <a:pt x="8751631" y="1622536"/>
                </a:lnTo>
                <a:lnTo>
                  <a:pt x="8751631" y="1641014"/>
                </a:lnTo>
                <a:lnTo>
                  <a:pt x="8751631" y="1641015"/>
                </a:lnTo>
                <a:lnTo>
                  <a:pt x="8751631" y="3215685"/>
                </a:lnTo>
                <a:lnTo>
                  <a:pt x="8751631" y="3215686"/>
                </a:lnTo>
                <a:cubicBezTo>
                  <a:pt x="8751631" y="3290902"/>
                  <a:pt x="8690657" y="3351876"/>
                  <a:pt x="8615441" y="3351876"/>
                </a:cubicBezTo>
                <a:cubicBezTo>
                  <a:pt x="8596637" y="3351876"/>
                  <a:pt x="8578723" y="3348066"/>
                  <a:pt x="8562429" y="3341173"/>
                </a:cubicBezTo>
                <a:lnTo>
                  <a:pt x="8526229" y="3316766"/>
                </a:lnTo>
                <a:lnTo>
                  <a:pt x="6945573" y="1736112"/>
                </a:lnTo>
                <a:cubicBezTo>
                  <a:pt x="6945573" y="1736111"/>
                  <a:pt x="6945571" y="1736111"/>
                  <a:pt x="6945571" y="1736111"/>
                </a:cubicBezTo>
                <a:lnTo>
                  <a:pt x="6925621" y="1716161"/>
                </a:lnTo>
                <a:lnTo>
                  <a:pt x="6904469" y="1684787"/>
                </a:lnTo>
                <a:cubicBezTo>
                  <a:pt x="6897577" y="1668493"/>
                  <a:pt x="6893765" y="1650579"/>
                  <a:pt x="6893765" y="1631775"/>
                </a:cubicBezTo>
                <a:cubicBezTo>
                  <a:pt x="6893765" y="1575363"/>
                  <a:pt x="6928065" y="1526961"/>
                  <a:pt x="6976945" y="1506287"/>
                </a:cubicBezTo>
                <a:lnTo>
                  <a:pt x="7020713" y="1497451"/>
                </a:lnTo>
                <a:lnTo>
                  <a:pt x="7039199" y="1497451"/>
                </a:lnTo>
                <a:close/>
                <a:moveTo>
                  <a:pt x="6470269" y="1497450"/>
                </a:moveTo>
                <a:cubicBezTo>
                  <a:pt x="6489073" y="1497450"/>
                  <a:pt x="6506987" y="1501261"/>
                  <a:pt x="6523281" y="1508153"/>
                </a:cubicBezTo>
                <a:lnTo>
                  <a:pt x="6559481" y="1532560"/>
                </a:lnTo>
                <a:lnTo>
                  <a:pt x="8140137" y="3113215"/>
                </a:lnTo>
                <a:cubicBezTo>
                  <a:pt x="8140139" y="3113216"/>
                  <a:pt x="8140139" y="3113216"/>
                  <a:pt x="8140139" y="3113216"/>
                </a:cubicBezTo>
                <a:lnTo>
                  <a:pt x="8160089" y="3133166"/>
                </a:lnTo>
                <a:lnTo>
                  <a:pt x="8181241" y="3164541"/>
                </a:lnTo>
                <a:cubicBezTo>
                  <a:pt x="8188133" y="3180834"/>
                  <a:pt x="8191945" y="3198748"/>
                  <a:pt x="8191945" y="3217551"/>
                </a:cubicBezTo>
                <a:cubicBezTo>
                  <a:pt x="8191945" y="3273963"/>
                  <a:pt x="8157647" y="3322365"/>
                  <a:pt x="8108765" y="3343039"/>
                </a:cubicBezTo>
                <a:lnTo>
                  <a:pt x="8064997" y="3351875"/>
                </a:lnTo>
                <a:lnTo>
                  <a:pt x="8046511" y="3351875"/>
                </a:lnTo>
                <a:lnTo>
                  <a:pt x="8046511" y="3351876"/>
                </a:lnTo>
                <a:lnTo>
                  <a:pt x="6477647" y="3351876"/>
                </a:lnTo>
                <a:lnTo>
                  <a:pt x="6459161" y="3351875"/>
                </a:lnTo>
                <a:lnTo>
                  <a:pt x="6415393" y="3343039"/>
                </a:lnTo>
                <a:cubicBezTo>
                  <a:pt x="6382805" y="3329256"/>
                  <a:pt x="6356699" y="3303150"/>
                  <a:pt x="6342917" y="3270562"/>
                </a:cubicBezTo>
                <a:lnTo>
                  <a:pt x="6334079" y="3226790"/>
                </a:lnTo>
                <a:lnTo>
                  <a:pt x="6334079" y="3208313"/>
                </a:lnTo>
                <a:lnTo>
                  <a:pt x="6334079" y="3208312"/>
                </a:lnTo>
                <a:lnTo>
                  <a:pt x="6334079" y="1633642"/>
                </a:lnTo>
                <a:lnTo>
                  <a:pt x="6334079" y="1633641"/>
                </a:lnTo>
                <a:cubicBezTo>
                  <a:pt x="6334079" y="1558425"/>
                  <a:pt x="6395053" y="1497450"/>
                  <a:pt x="6470269" y="1497450"/>
                </a:cubicBezTo>
                <a:close/>
                <a:moveTo>
                  <a:pt x="6070733" y="1497450"/>
                </a:moveTo>
                <a:cubicBezTo>
                  <a:pt x="6145949" y="1497450"/>
                  <a:pt x="6206923" y="1558425"/>
                  <a:pt x="6206923" y="1633641"/>
                </a:cubicBezTo>
                <a:lnTo>
                  <a:pt x="6206923" y="1633642"/>
                </a:lnTo>
                <a:lnTo>
                  <a:pt x="6206923" y="3208312"/>
                </a:lnTo>
                <a:lnTo>
                  <a:pt x="6206923" y="3208313"/>
                </a:lnTo>
                <a:lnTo>
                  <a:pt x="6206923" y="3226790"/>
                </a:lnTo>
                <a:lnTo>
                  <a:pt x="6198085" y="3270562"/>
                </a:lnTo>
                <a:cubicBezTo>
                  <a:pt x="6184303" y="3303150"/>
                  <a:pt x="6158197" y="3329256"/>
                  <a:pt x="6125609" y="3343039"/>
                </a:cubicBezTo>
                <a:lnTo>
                  <a:pt x="6081841" y="3351875"/>
                </a:lnTo>
                <a:lnTo>
                  <a:pt x="6063355" y="3351876"/>
                </a:lnTo>
                <a:lnTo>
                  <a:pt x="4494492" y="3351876"/>
                </a:lnTo>
                <a:lnTo>
                  <a:pt x="4494492" y="3351875"/>
                </a:lnTo>
                <a:lnTo>
                  <a:pt x="4476005" y="3351875"/>
                </a:lnTo>
                <a:lnTo>
                  <a:pt x="4432239" y="3343039"/>
                </a:lnTo>
                <a:cubicBezTo>
                  <a:pt x="4383357" y="3322365"/>
                  <a:pt x="4349059" y="3273963"/>
                  <a:pt x="4349059" y="3217551"/>
                </a:cubicBezTo>
                <a:cubicBezTo>
                  <a:pt x="4349059" y="3198748"/>
                  <a:pt x="4352870" y="3180834"/>
                  <a:pt x="4359762" y="3164541"/>
                </a:cubicBezTo>
                <a:lnTo>
                  <a:pt x="4380915" y="3133166"/>
                </a:lnTo>
                <a:lnTo>
                  <a:pt x="4400864" y="3113216"/>
                </a:lnTo>
                <a:cubicBezTo>
                  <a:pt x="4400864" y="3113216"/>
                  <a:pt x="4400864" y="3113216"/>
                  <a:pt x="4400867" y="3113215"/>
                </a:cubicBezTo>
                <a:lnTo>
                  <a:pt x="5981521" y="1532560"/>
                </a:lnTo>
                <a:lnTo>
                  <a:pt x="6017721" y="1508153"/>
                </a:lnTo>
                <a:cubicBezTo>
                  <a:pt x="6034015" y="1501261"/>
                  <a:pt x="6051929" y="1497450"/>
                  <a:pt x="6070733" y="1497450"/>
                </a:cubicBezTo>
                <a:close/>
                <a:moveTo>
                  <a:pt x="3932943" y="1497450"/>
                </a:moveTo>
                <a:lnTo>
                  <a:pt x="5501803" y="1497450"/>
                </a:lnTo>
                <a:lnTo>
                  <a:pt x="5501803" y="1497451"/>
                </a:lnTo>
                <a:lnTo>
                  <a:pt x="5520290" y="1497451"/>
                </a:lnTo>
                <a:lnTo>
                  <a:pt x="5564058" y="1506287"/>
                </a:lnTo>
                <a:cubicBezTo>
                  <a:pt x="5612939" y="1526961"/>
                  <a:pt x="5647237" y="1575363"/>
                  <a:pt x="5647237" y="1631775"/>
                </a:cubicBezTo>
                <a:cubicBezTo>
                  <a:pt x="5647237" y="1650579"/>
                  <a:pt x="5643426" y="1668493"/>
                  <a:pt x="5636534" y="1684787"/>
                </a:cubicBezTo>
                <a:lnTo>
                  <a:pt x="5615382" y="1716161"/>
                </a:lnTo>
                <a:lnTo>
                  <a:pt x="5595432" y="1736111"/>
                </a:lnTo>
                <a:cubicBezTo>
                  <a:pt x="5595431" y="1736111"/>
                  <a:pt x="5595431" y="1736111"/>
                  <a:pt x="5595430" y="1736112"/>
                </a:cubicBezTo>
                <a:lnTo>
                  <a:pt x="4014775" y="3316766"/>
                </a:lnTo>
                <a:lnTo>
                  <a:pt x="3978575" y="3341173"/>
                </a:lnTo>
                <a:cubicBezTo>
                  <a:pt x="3962281" y="3348066"/>
                  <a:pt x="3944366" y="3351876"/>
                  <a:pt x="3925563" y="3351876"/>
                </a:cubicBezTo>
                <a:cubicBezTo>
                  <a:pt x="3850347" y="3351876"/>
                  <a:pt x="3789371" y="3290902"/>
                  <a:pt x="3789371" y="3215686"/>
                </a:cubicBezTo>
                <a:lnTo>
                  <a:pt x="3789371" y="3215685"/>
                </a:lnTo>
                <a:lnTo>
                  <a:pt x="3789372" y="1641014"/>
                </a:lnTo>
                <a:lnTo>
                  <a:pt x="3789374" y="1641015"/>
                </a:lnTo>
                <a:lnTo>
                  <a:pt x="3789374" y="1622536"/>
                </a:lnTo>
                <a:lnTo>
                  <a:pt x="3798210" y="1578764"/>
                </a:lnTo>
                <a:cubicBezTo>
                  <a:pt x="3811994" y="1546176"/>
                  <a:pt x="3838100" y="1520070"/>
                  <a:pt x="3870687" y="1506287"/>
                </a:cubicBezTo>
                <a:lnTo>
                  <a:pt x="3914456" y="1497451"/>
                </a:lnTo>
                <a:close/>
                <a:moveTo>
                  <a:pt x="1949785" y="1497450"/>
                </a:moveTo>
                <a:lnTo>
                  <a:pt x="3518648" y="1497450"/>
                </a:lnTo>
                <a:lnTo>
                  <a:pt x="3537134" y="1497451"/>
                </a:lnTo>
                <a:lnTo>
                  <a:pt x="3580902" y="1506287"/>
                </a:lnTo>
                <a:cubicBezTo>
                  <a:pt x="3613490" y="1520070"/>
                  <a:pt x="3639597" y="1546176"/>
                  <a:pt x="3653380" y="1578764"/>
                </a:cubicBezTo>
                <a:lnTo>
                  <a:pt x="3662216" y="1622536"/>
                </a:lnTo>
                <a:lnTo>
                  <a:pt x="3662216" y="1641015"/>
                </a:lnTo>
                <a:lnTo>
                  <a:pt x="3662218" y="1641014"/>
                </a:lnTo>
                <a:lnTo>
                  <a:pt x="3662217" y="3215685"/>
                </a:lnTo>
                <a:lnTo>
                  <a:pt x="3662217" y="3215686"/>
                </a:lnTo>
                <a:cubicBezTo>
                  <a:pt x="3662217" y="3290902"/>
                  <a:pt x="3601242" y="3351876"/>
                  <a:pt x="3526026" y="3351876"/>
                </a:cubicBezTo>
                <a:cubicBezTo>
                  <a:pt x="3507221" y="3351876"/>
                  <a:pt x="3489308" y="3348066"/>
                  <a:pt x="3473014" y="3341173"/>
                </a:cubicBezTo>
                <a:lnTo>
                  <a:pt x="3436813" y="3316766"/>
                </a:lnTo>
                <a:lnTo>
                  <a:pt x="1856157" y="1736112"/>
                </a:lnTo>
                <a:cubicBezTo>
                  <a:pt x="1856157" y="1736111"/>
                  <a:pt x="1856156" y="1736111"/>
                  <a:pt x="1856156" y="1736111"/>
                </a:cubicBezTo>
                <a:lnTo>
                  <a:pt x="1836206" y="1716161"/>
                </a:lnTo>
                <a:lnTo>
                  <a:pt x="1815054" y="1684787"/>
                </a:lnTo>
                <a:cubicBezTo>
                  <a:pt x="1808163" y="1668493"/>
                  <a:pt x="1804351" y="1650579"/>
                  <a:pt x="1804351" y="1631775"/>
                </a:cubicBezTo>
                <a:cubicBezTo>
                  <a:pt x="1804351" y="1575363"/>
                  <a:pt x="1838650" y="1526961"/>
                  <a:pt x="1887531" y="1506287"/>
                </a:cubicBezTo>
                <a:lnTo>
                  <a:pt x="1931299" y="1497451"/>
                </a:lnTo>
                <a:lnTo>
                  <a:pt x="1949785" y="1497451"/>
                </a:lnTo>
                <a:close/>
                <a:moveTo>
                  <a:pt x="9740963" y="853857"/>
                </a:moveTo>
                <a:lnTo>
                  <a:pt x="9740963" y="1343201"/>
                </a:lnTo>
                <a:lnTo>
                  <a:pt x="9583907" y="1343201"/>
                </a:lnTo>
                <a:lnTo>
                  <a:pt x="9583907" y="1343200"/>
                </a:lnTo>
                <a:lnTo>
                  <a:pt x="9565421" y="1343200"/>
                </a:lnTo>
                <a:lnTo>
                  <a:pt x="9521653" y="1334363"/>
                </a:lnTo>
                <a:cubicBezTo>
                  <a:pt x="9472773" y="1313689"/>
                  <a:pt x="9438473" y="1265288"/>
                  <a:pt x="9438473" y="1208876"/>
                </a:cubicBezTo>
                <a:cubicBezTo>
                  <a:pt x="9438473" y="1190072"/>
                  <a:pt x="9442285" y="1172158"/>
                  <a:pt x="9449177" y="1155864"/>
                </a:cubicBezTo>
                <a:lnTo>
                  <a:pt x="9470329" y="1124490"/>
                </a:lnTo>
                <a:lnTo>
                  <a:pt x="9490279" y="1104541"/>
                </a:lnTo>
                <a:cubicBezTo>
                  <a:pt x="9490279" y="1104540"/>
                  <a:pt x="9490281" y="1104540"/>
                  <a:pt x="9490281" y="1104539"/>
                </a:cubicBezTo>
                <a:close/>
                <a:moveTo>
                  <a:pt x="8878787" y="0"/>
                </a:moveTo>
                <a:lnTo>
                  <a:pt x="9740963" y="0"/>
                </a:lnTo>
                <a:lnTo>
                  <a:pt x="9740963" y="671317"/>
                </a:lnTo>
                <a:lnTo>
                  <a:pt x="9104189" y="1308091"/>
                </a:lnTo>
                <a:lnTo>
                  <a:pt x="9067989" y="1332498"/>
                </a:lnTo>
                <a:cubicBezTo>
                  <a:pt x="9051695" y="1339390"/>
                  <a:pt x="9033781" y="1343201"/>
                  <a:pt x="9014977" y="1343201"/>
                </a:cubicBezTo>
                <a:cubicBezTo>
                  <a:pt x="8939761" y="1343201"/>
                  <a:pt x="8878787" y="1282226"/>
                  <a:pt x="8878787" y="1207011"/>
                </a:cubicBezTo>
                <a:lnTo>
                  <a:pt x="8878787" y="1207009"/>
                </a:lnTo>
                <a:close/>
                <a:moveTo>
                  <a:pt x="7218138" y="0"/>
                </a:moveTo>
                <a:lnTo>
                  <a:pt x="8751631" y="0"/>
                </a:lnTo>
                <a:lnTo>
                  <a:pt x="8751631" y="1207009"/>
                </a:lnTo>
                <a:lnTo>
                  <a:pt x="8751631" y="1207011"/>
                </a:lnTo>
                <a:cubicBezTo>
                  <a:pt x="8751631" y="1282226"/>
                  <a:pt x="8690657" y="1343201"/>
                  <a:pt x="8615441" y="1343201"/>
                </a:cubicBezTo>
                <a:cubicBezTo>
                  <a:pt x="8596637" y="1343201"/>
                  <a:pt x="8578723" y="1339390"/>
                  <a:pt x="8562429" y="1332498"/>
                </a:cubicBezTo>
                <a:lnTo>
                  <a:pt x="8526229" y="1308091"/>
                </a:lnTo>
                <a:close/>
                <a:moveTo>
                  <a:pt x="6334079" y="0"/>
                </a:moveTo>
                <a:lnTo>
                  <a:pt x="7035598" y="0"/>
                </a:lnTo>
                <a:lnTo>
                  <a:pt x="8140137" y="1104539"/>
                </a:lnTo>
                <a:cubicBezTo>
                  <a:pt x="8140139" y="1104540"/>
                  <a:pt x="8140139" y="1104540"/>
                  <a:pt x="8140139" y="1104541"/>
                </a:cubicBezTo>
                <a:lnTo>
                  <a:pt x="8160089" y="1124490"/>
                </a:lnTo>
                <a:lnTo>
                  <a:pt x="8181241" y="1155864"/>
                </a:lnTo>
                <a:cubicBezTo>
                  <a:pt x="8188133" y="1172158"/>
                  <a:pt x="8191945" y="1190072"/>
                  <a:pt x="8191945" y="1208876"/>
                </a:cubicBezTo>
                <a:cubicBezTo>
                  <a:pt x="8191945" y="1265288"/>
                  <a:pt x="8157647" y="1313689"/>
                  <a:pt x="8108765" y="1334363"/>
                </a:cubicBezTo>
                <a:lnTo>
                  <a:pt x="8064997" y="1343200"/>
                </a:lnTo>
                <a:lnTo>
                  <a:pt x="8046511" y="1343200"/>
                </a:lnTo>
                <a:lnTo>
                  <a:pt x="8046511" y="1343201"/>
                </a:lnTo>
                <a:lnTo>
                  <a:pt x="6477647" y="1343201"/>
                </a:lnTo>
                <a:lnTo>
                  <a:pt x="6459161" y="1343200"/>
                </a:lnTo>
                <a:lnTo>
                  <a:pt x="6415393" y="1334363"/>
                </a:lnTo>
                <a:cubicBezTo>
                  <a:pt x="6382805" y="1320581"/>
                  <a:pt x="6356699" y="1294475"/>
                  <a:pt x="6342917" y="1261887"/>
                </a:cubicBezTo>
                <a:lnTo>
                  <a:pt x="6334079" y="1218115"/>
                </a:lnTo>
                <a:lnTo>
                  <a:pt x="6334079" y="1199637"/>
                </a:lnTo>
                <a:lnTo>
                  <a:pt x="6334079" y="1199636"/>
                </a:lnTo>
                <a:close/>
                <a:moveTo>
                  <a:pt x="5505405" y="0"/>
                </a:moveTo>
                <a:lnTo>
                  <a:pt x="6206923" y="0"/>
                </a:lnTo>
                <a:lnTo>
                  <a:pt x="6206923" y="1199636"/>
                </a:lnTo>
                <a:lnTo>
                  <a:pt x="6206923" y="1199637"/>
                </a:lnTo>
                <a:lnTo>
                  <a:pt x="6206923" y="1218115"/>
                </a:lnTo>
                <a:lnTo>
                  <a:pt x="6198085" y="1261887"/>
                </a:lnTo>
                <a:cubicBezTo>
                  <a:pt x="6184303" y="1294475"/>
                  <a:pt x="6158197" y="1320581"/>
                  <a:pt x="6125609" y="1334363"/>
                </a:cubicBezTo>
                <a:lnTo>
                  <a:pt x="6081841" y="1343200"/>
                </a:lnTo>
                <a:lnTo>
                  <a:pt x="6063355" y="1343201"/>
                </a:lnTo>
                <a:lnTo>
                  <a:pt x="4494493" y="1343201"/>
                </a:lnTo>
                <a:lnTo>
                  <a:pt x="4494493" y="1343200"/>
                </a:lnTo>
                <a:lnTo>
                  <a:pt x="4476006" y="1343200"/>
                </a:lnTo>
                <a:lnTo>
                  <a:pt x="4432239" y="1334363"/>
                </a:lnTo>
                <a:cubicBezTo>
                  <a:pt x="4383357" y="1313689"/>
                  <a:pt x="4349060" y="1265288"/>
                  <a:pt x="4349060" y="1208876"/>
                </a:cubicBezTo>
                <a:cubicBezTo>
                  <a:pt x="4349060" y="1190072"/>
                  <a:pt x="4352871" y="1172158"/>
                  <a:pt x="4359762" y="1155864"/>
                </a:cubicBezTo>
                <a:lnTo>
                  <a:pt x="4380915" y="1124490"/>
                </a:lnTo>
                <a:lnTo>
                  <a:pt x="4400865" y="1104541"/>
                </a:lnTo>
                <a:cubicBezTo>
                  <a:pt x="4400865" y="1104540"/>
                  <a:pt x="4400865" y="1104540"/>
                  <a:pt x="4400867" y="1104539"/>
                </a:cubicBezTo>
                <a:close/>
                <a:moveTo>
                  <a:pt x="3789372" y="0"/>
                </a:moveTo>
                <a:lnTo>
                  <a:pt x="5322865" y="0"/>
                </a:lnTo>
                <a:lnTo>
                  <a:pt x="4014775" y="1308091"/>
                </a:lnTo>
                <a:lnTo>
                  <a:pt x="3978576" y="1332498"/>
                </a:lnTo>
                <a:cubicBezTo>
                  <a:pt x="3962281" y="1339390"/>
                  <a:pt x="3944367" y="1343201"/>
                  <a:pt x="3925564" y="1343201"/>
                </a:cubicBezTo>
                <a:cubicBezTo>
                  <a:pt x="3850347" y="1343201"/>
                  <a:pt x="3789372" y="1282226"/>
                  <a:pt x="3789372" y="1207011"/>
                </a:cubicBezTo>
                <a:lnTo>
                  <a:pt x="3789372" y="1207009"/>
                </a:lnTo>
                <a:close/>
                <a:moveTo>
                  <a:pt x="2128722" y="0"/>
                </a:moveTo>
                <a:lnTo>
                  <a:pt x="3662218" y="0"/>
                </a:lnTo>
                <a:lnTo>
                  <a:pt x="3662218" y="1207009"/>
                </a:lnTo>
                <a:lnTo>
                  <a:pt x="3662218" y="1207011"/>
                </a:lnTo>
                <a:cubicBezTo>
                  <a:pt x="3662218" y="1282226"/>
                  <a:pt x="3601243" y="1343201"/>
                  <a:pt x="3526026" y="1343201"/>
                </a:cubicBezTo>
                <a:cubicBezTo>
                  <a:pt x="3507222" y="1343201"/>
                  <a:pt x="3489309" y="1339390"/>
                  <a:pt x="3473015" y="1332498"/>
                </a:cubicBezTo>
                <a:lnTo>
                  <a:pt x="3436814" y="1308091"/>
                </a:lnTo>
                <a:close/>
                <a:moveTo>
                  <a:pt x="1244667" y="0"/>
                </a:moveTo>
                <a:lnTo>
                  <a:pt x="1946188" y="0"/>
                </a:lnTo>
                <a:lnTo>
                  <a:pt x="3050724" y="1104539"/>
                </a:lnTo>
                <a:cubicBezTo>
                  <a:pt x="3050724" y="1104540"/>
                  <a:pt x="3050724" y="1104540"/>
                  <a:pt x="3050726" y="1104541"/>
                </a:cubicBezTo>
                <a:lnTo>
                  <a:pt x="3070675" y="1124490"/>
                </a:lnTo>
                <a:lnTo>
                  <a:pt x="3091828" y="1155864"/>
                </a:lnTo>
                <a:cubicBezTo>
                  <a:pt x="3098719" y="1172158"/>
                  <a:pt x="3102530" y="1190072"/>
                  <a:pt x="3102530" y="1208876"/>
                </a:cubicBezTo>
                <a:cubicBezTo>
                  <a:pt x="3102530" y="1265288"/>
                  <a:pt x="3068231" y="1313689"/>
                  <a:pt x="3019351" y="1334363"/>
                </a:cubicBezTo>
                <a:lnTo>
                  <a:pt x="2975584" y="1343200"/>
                </a:lnTo>
                <a:lnTo>
                  <a:pt x="2957097" y="1343200"/>
                </a:lnTo>
                <a:lnTo>
                  <a:pt x="2957097" y="1343201"/>
                </a:lnTo>
                <a:lnTo>
                  <a:pt x="1388238" y="1343201"/>
                </a:lnTo>
                <a:lnTo>
                  <a:pt x="1369751" y="1343200"/>
                </a:lnTo>
                <a:lnTo>
                  <a:pt x="1325983" y="1334363"/>
                </a:lnTo>
                <a:cubicBezTo>
                  <a:pt x="1293396" y="1320581"/>
                  <a:pt x="1267290" y="1294475"/>
                  <a:pt x="1253507" y="1261887"/>
                </a:cubicBezTo>
                <a:lnTo>
                  <a:pt x="1244670" y="1218115"/>
                </a:lnTo>
                <a:lnTo>
                  <a:pt x="1244670" y="1199636"/>
                </a:lnTo>
                <a:lnTo>
                  <a:pt x="1244667" y="1199637"/>
                </a:lnTo>
                <a:close/>
                <a:moveTo>
                  <a:pt x="13126" y="0"/>
                </a:moveTo>
                <a:lnTo>
                  <a:pt x="1128917" y="0"/>
                </a:lnTo>
                <a:lnTo>
                  <a:pt x="1128917" y="783502"/>
                </a:lnTo>
                <a:lnTo>
                  <a:pt x="1128917" y="801988"/>
                </a:lnTo>
                <a:lnTo>
                  <a:pt x="1120079" y="845757"/>
                </a:lnTo>
                <a:cubicBezTo>
                  <a:pt x="1099407" y="894638"/>
                  <a:pt x="1051005" y="928936"/>
                  <a:pt x="994592" y="928936"/>
                </a:cubicBezTo>
                <a:cubicBezTo>
                  <a:pt x="975788" y="928936"/>
                  <a:pt x="957874" y="925125"/>
                  <a:pt x="941580" y="918233"/>
                </a:cubicBezTo>
                <a:lnTo>
                  <a:pt x="910206" y="897080"/>
                </a:lnTo>
                <a:lnTo>
                  <a:pt x="890257" y="877131"/>
                </a:lnTo>
                <a:cubicBezTo>
                  <a:pt x="890257" y="877130"/>
                  <a:pt x="890257" y="877130"/>
                  <a:pt x="890255" y="877129"/>
                </a:cubicBezTo>
                <a:close/>
              </a:path>
            </a:pathLst>
          </a:custGeom>
        </p:spPr>
        <p:txBody>
          <a:bodyPr wrap="square" anchor="t">
            <a:noAutofit/>
          </a:bodyPr>
          <a:lstStyle>
            <a:lvl1pPr marL="0" indent="0">
              <a:buNone/>
              <a:defRPr/>
            </a:lvl1pPr>
          </a:lstStyle>
          <a:p>
            <a:endParaRPr lang="en-US" dirty="0"/>
          </a:p>
        </p:txBody>
      </p:sp>
      <p:cxnSp>
        <p:nvCxnSpPr>
          <p:cNvPr id="5" name="Straight Connector 4">
            <a:extLst>
              <a:ext uri="{FF2B5EF4-FFF2-40B4-BE49-F238E27FC236}">
                <a16:creationId xmlns:a16="http://schemas.microsoft.com/office/drawing/2014/main" id="{A680A1CF-F68C-45F0-A5BC-1B5F31BA0E32}"/>
              </a:ext>
            </a:extLst>
          </p:cNvPr>
          <p:cNvCxnSpPr/>
          <p:nvPr userDrawn="1"/>
        </p:nvCxnSpPr>
        <p:spPr>
          <a:xfrm>
            <a:off x="492968" y="293672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9BCDB7-0D00-4F03-A598-19299CFEE44F}"/>
              </a:ext>
            </a:extLst>
          </p:cNvPr>
          <p:cNvSpPr>
            <a:spLocks noGrp="1"/>
          </p:cNvSpPr>
          <p:nvPr>
            <p:ph type="body" sz="quarter" idx="11" hasCustomPrompt="1"/>
          </p:nvPr>
        </p:nvSpPr>
        <p:spPr>
          <a:xfrm>
            <a:off x="390331" y="2558338"/>
            <a:ext cx="3657600" cy="274320"/>
          </a:xfrm>
          <a:prstGeom prst="rect">
            <a:avLst/>
          </a:prstGeom>
        </p:spPr>
        <p:txBody>
          <a:bodyPr anchor="ctr"/>
          <a:lstStyle>
            <a:lvl1pPr marL="0" indent="0" algn="l">
              <a:lnSpc>
                <a:spcPct val="100000"/>
              </a:lnSpc>
              <a:spcBef>
                <a:spcPts val="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7" name="Text Placeholder 4">
            <a:extLst>
              <a:ext uri="{FF2B5EF4-FFF2-40B4-BE49-F238E27FC236}">
                <a16:creationId xmlns:a16="http://schemas.microsoft.com/office/drawing/2014/main" id="{4BEABEEC-14B6-4419-97EE-7111538ADA2A}"/>
              </a:ext>
            </a:extLst>
          </p:cNvPr>
          <p:cNvSpPr>
            <a:spLocks noGrp="1"/>
          </p:cNvSpPr>
          <p:nvPr>
            <p:ph type="body" sz="quarter" idx="61" hasCustomPrompt="1"/>
          </p:nvPr>
        </p:nvSpPr>
        <p:spPr>
          <a:xfrm>
            <a:off x="390331" y="3434353"/>
            <a:ext cx="36576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9" name="Text Placeholder 7">
            <a:extLst>
              <a:ext uri="{FF2B5EF4-FFF2-40B4-BE49-F238E27FC236}">
                <a16:creationId xmlns:a16="http://schemas.microsoft.com/office/drawing/2014/main" id="{7F667EF6-0F30-4E08-A465-3D645C4BCC8B}"/>
              </a:ext>
            </a:extLst>
          </p:cNvPr>
          <p:cNvSpPr>
            <a:spLocks noGrp="1"/>
          </p:cNvSpPr>
          <p:nvPr>
            <p:ph type="body" sz="quarter" idx="62" hasCustomPrompt="1"/>
          </p:nvPr>
        </p:nvSpPr>
        <p:spPr>
          <a:xfrm>
            <a:off x="390331" y="1600200"/>
            <a:ext cx="3657600" cy="854075"/>
          </a:xfrm>
          <a:prstGeom prst="rect">
            <a:avLst/>
          </a:prstGeom>
        </p:spPr>
        <p:txBody>
          <a:bodyPr anchor="ctr"/>
          <a:lstStyle>
            <a:lvl1pPr marL="0" indent="0" algn="l">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Tree>
    <p:extLst>
      <p:ext uri="{BB962C8B-B14F-4D97-AF65-F5344CB8AC3E}">
        <p14:creationId xmlns:p14="http://schemas.microsoft.com/office/powerpoint/2010/main" val="14596898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5EE70E34-1047-42DB-AE04-3FB5C5C73170}"/>
              </a:ext>
            </a:extLst>
          </p:cNvPr>
          <p:cNvCxnSpPr/>
          <p:nvPr userDrawn="1"/>
        </p:nvCxnSpPr>
        <p:spPr>
          <a:xfrm>
            <a:off x="502298"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content</a:t>
            </a:r>
          </a:p>
        </p:txBody>
      </p:sp>
      <p:sp>
        <p:nvSpPr>
          <p:cNvPr id="12" name="TextBox 11">
            <a:extLst>
              <a:ext uri="{FF2B5EF4-FFF2-40B4-BE49-F238E27FC236}">
                <a16:creationId xmlns:a16="http://schemas.microsoft.com/office/drawing/2014/main" id="{A3765DE3-4867-424A-B553-0EE0D6B69DBB}"/>
              </a:ext>
            </a:extLst>
          </p:cNvPr>
          <p:cNvSpPr txBox="1"/>
          <p:nvPr userDrawn="1"/>
        </p:nvSpPr>
        <p:spPr>
          <a:xfrm>
            <a:off x="390331" y="2334982"/>
            <a:ext cx="5715000" cy="615553"/>
          </a:xfrm>
          <a:prstGeom prst="rect">
            <a:avLst/>
          </a:prstGeom>
          <a:noFill/>
        </p:spPr>
        <p:txBody>
          <a:bodyPr wrap="square" rtlCol="0" anchor="b">
            <a:spAutoFit/>
          </a:bodyPr>
          <a:lstStyle/>
          <a:p>
            <a:r>
              <a:rPr lang="en-US" sz="34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Q&amp;A DISCUSSION</a:t>
            </a:r>
          </a:p>
        </p:txBody>
      </p:sp>
      <p:pic>
        <p:nvPicPr>
          <p:cNvPr id="13" name="Picture Placeholder 5">
            <a:extLst>
              <a:ext uri="{FF2B5EF4-FFF2-40B4-BE49-F238E27FC236}">
                <a16:creationId xmlns:a16="http://schemas.microsoft.com/office/drawing/2014/main" id="{E1CE07EB-D7A1-4DCD-BC11-38AD5B76DB0F}"/>
              </a:ext>
            </a:extLst>
          </p:cNvPr>
          <p:cNvPicPr>
            <a:picLocks noChangeAspect="1"/>
          </p:cNvPicPr>
          <p:nvPr userDrawn="1"/>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
        <p:nvSpPr>
          <p:cNvPr id="8" name="TextBox 7">
            <a:extLst>
              <a:ext uri="{FF2B5EF4-FFF2-40B4-BE49-F238E27FC236}">
                <a16:creationId xmlns:a16="http://schemas.microsoft.com/office/drawing/2014/main" id="{802D4AF7-CE7A-4504-9D3B-DA8988601B4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9406843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userDrawn="1"/>
        </p:nvPicPr>
        <p:blipFill>
          <a:blip r:embed="rId2"/>
          <a:src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userDrawn="1"/>
        </p:nvSpPr>
        <p:spPr>
          <a:xfrm>
            <a:off x="-1" y="1"/>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a:spLocks/>
          </p:cNvSpPr>
          <p:nvPr userDrawn="1"/>
        </p:nvSpPr>
        <p:spPr bwMode="auto">
          <a:xfrm>
            <a:off x="976498" y="1613180"/>
            <a:ext cx="10239021"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Bebas Neue" charset="0"/>
              </a:rPr>
              <a:t>CONNECT WITH US</a:t>
            </a:r>
          </a:p>
        </p:txBody>
      </p:sp>
      <p:sp>
        <p:nvSpPr>
          <p:cNvPr id="10" name="Rectangle 9">
            <a:extLst>
              <a:ext uri="{FF2B5EF4-FFF2-40B4-BE49-F238E27FC236}">
                <a16:creationId xmlns:a16="http://schemas.microsoft.com/office/drawing/2014/main" id="{64EB43D7-6E46-4F6B-A9DB-D495F1CDBCFC}"/>
              </a:ext>
            </a:extLst>
          </p:cNvPr>
          <p:cNvSpPr/>
          <p:nvPr userDrawn="1"/>
        </p:nvSpPr>
        <p:spPr>
          <a:xfrm>
            <a:off x="1558463" y="4140246"/>
            <a:ext cx="1072730"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userDrawn="1"/>
        </p:nvSpPr>
        <p:spPr>
          <a:xfrm>
            <a:off x="381000" y="5794258"/>
            <a:ext cx="11430000" cy="693010"/>
          </a:xfrm>
          <a:prstGeom prst="rect">
            <a:avLst/>
          </a:prstGeom>
          <a:noFill/>
        </p:spPr>
        <p:txBody>
          <a:bodyPr wrap="square" rtlCol="0">
            <a:spAutoFit/>
          </a:bodyPr>
          <a:lstStyle/>
          <a:p>
            <a:pPr algn="ctr">
              <a:lnSpc>
                <a:spcPts val="1620"/>
              </a:lnSpc>
            </a:pPr>
            <a:r>
              <a:rPr lang="en-US" sz="1100" dirty="0">
                <a:solidFill>
                  <a:schemeClr val="bg2"/>
                </a:solidFill>
                <a:latin typeface="Open Sans" panose="020B0606030504020204" pitchFamily="34" charset="0"/>
                <a:ea typeface="Open Sans" panose="020B0606030504020204" pitchFamily="34" charset="0"/>
                <a:cs typeface="Open Sans" panose="020B0606030504020204" pitchFamily="34" charset="0"/>
              </a:rPr>
              <a:t>Baker Donelson is among the 80 largest law firms in the country, with more than 650 attorneys and public policy advisors representing more than 30 practice areas to serve a wide range of legal needs. Clients receive knowledgeable guidance from experienced, multi-disciplined industry and client service teams, all seamlessly connected across 22 offices in Alabama, Florida, Georgia, Louisiana, Maryland, Mississippi, North Carolina,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pic>
        <p:nvPicPr>
          <p:cNvPr id="16" name="Graphic 15">
            <a:extLst>
              <a:ext uri="{FF2B5EF4-FFF2-40B4-BE49-F238E27FC236}">
                <a16:creationId xmlns:a16="http://schemas.microsoft.com/office/drawing/2014/main" id="{16702A56-F8BD-4883-868A-BF99C0595C9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665906" y="3510046"/>
            <a:ext cx="552450" cy="552450"/>
          </a:xfrm>
          <a:prstGeom prst="rect">
            <a:avLst/>
          </a:prstGeom>
        </p:spPr>
      </p:pic>
      <p:sp>
        <p:nvSpPr>
          <p:cNvPr id="19" name="Rectangle 18">
            <a:extLst>
              <a:ext uri="{FF2B5EF4-FFF2-40B4-BE49-F238E27FC236}">
                <a16:creationId xmlns:a16="http://schemas.microsoft.com/office/drawing/2014/main" id="{96FC3433-DCBB-4866-ABF7-8B8E191533CF}"/>
              </a:ext>
            </a:extLst>
          </p:cNvPr>
          <p:cNvSpPr/>
          <p:nvPr userDrawn="1"/>
        </p:nvSpPr>
        <p:spPr>
          <a:xfrm>
            <a:off x="9407594" y="4140246"/>
            <a:ext cx="1069075"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TWITTER</a:t>
            </a:r>
          </a:p>
        </p:txBody>
      </p:sp>
      <p:sp>
        <p:nvSpPr>
          <p:cNvPr id="21" name="Rectangle 20">
            <a:extLst>
              <a:ext uri="{FF2B5EF4-FFF2-40B4-BE49-F238E27FC236}">
                <a16:creationId xmlns:a16="http://schemas.microsoft.com/office/drawing/2014/main" id="{43DE0751-F48A-4E59-91EF-79F744409C3B}"/>
              </a:ext>
            </a:extLst>
          </p:cNvPr>
          <p:cNvSpPr/>
          <p:nvPr userDrawn="1"/>
        </p:nvSpPr>
        <p:spPr>
          <a:xfrm>
            <a:off x="4142510" y="4140246"/>
            <a:ext cx="1299651"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userDrawn="1"/>
        </p:nvSpPr>
        <p:spPr>
          <a:xfrm>
            <a:off x="6652713" y="4140246"/>
            <a:ext cx="1164101"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958536" y="3514829"/>
            <a:ext cx="552450" cy="552450"/>
          </a:xfrm>
          <a:prstGeom prst="rect">
            <a:avLst/>
          </a:prstGeom>
        </p:spPr>
      </p:pic>
    </p:spTree>
    <p:extLst>
      <p:ext uri="{BB962C8B-B14F-4D97-AF65-F5344CB8AC3E}">
        <p14:creationId xmlns:p14="http://schemas.microsoft.com/office/powerpoint/2010/main" val="395132536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Data Privacy">
    <p:spTree>
      <p:nvGrpSpPr>
        <p:cNvPr id="1" name=""/>
        <p:cNvGrpSpPr/>
        <p:nvPr/>
      </p:nvGrpSpPr>
      <p:grpSpPr>
        <a:xfrm>
          <a:off x="0" y="0"/>
          <a:ext cx="0" cy="0"/>
          <a:chOff x="0" y="0"/>
          <a:chExt cx="0" cy="0"/>
        </a:xfrm>
      </p:grpSpPr>
      <p:pic>
        <p:nvPicPr>
          <p:cNvPr id="12" name="Picture Placeholder 14">
            <a:extLst>
              <a:ext uri="{FF2B5EF4-FFF2-40B4-BE49-F238E27FC236}">
                <a16:creationId xmlns:a16="http://schemas.microsoft.com/office/drawing/2014/main" id="{7FCC1A8B-F827-470E-AA71-EE288BC444C3}"/>
              </a:ext>
            </a:extLst>
          </p:cNvPr>
          <p:cNvPicPr>
            <a:picLocks noChangeAspect="1"/>
          </p:cNvPicPr>
          <p:nvPr userDrawn="1"/>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1" name="Rectangle 10">
            <a:extLst>
              <a:ext uri="{FF2B5EF4-FFF2-40B4-BE49-F238E27FC236}">
                <a16:creationId xmlns:a16="http://schemas.microsoft.com/office/drawing/2014/main" id="{CFF768DD-5594-4F4B-B7FE-94A45903BF18}"/>
              </a:ext>
            </a:extLst>
          </p:cNvPr>
          <p:cNvSpPr/>
          <p:nvPr userDrawn="1"/>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5" name="Straight Connector 14">
            <a:extLst>
              <a:ext uri="{FF2B5EF4-FFF2-40B4-BE49-F238E27FC236}">
                <a16:creationId xmlns:a16="http://schemas.microsoft.com/office/drawing/2014/main" id="{EFC0DD85-ABF6-4AD9-A8BE-86718A77B20B}"/>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10">
            <a:extLst>
              <a:ext uri="{FF2B5EF4-FFF2-40B4-BE49-F238E27FC236}">
                <a16:creationId xmlns:a16="http://schemas.microsoft.com/office/drawing/2014/main" id="{A3CA12F3-089D-4A4B-916E-6E32F1D39576}"/>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PRESENTATION TITLE</a:t>
            </a:r>
          </a:p>
        </p:txBody>
      </p:sp>
      <p:sp>
        <p:nvSpPr>
          <p:cNvPr id="18" name="Text Placeholder 14">
            <a:extLst>
              <a:ext uri="{FF2B5EF4-FFF2-40B4-BE49-F238E27FC236}">
                <a16:creationId xmlns:a16="http://schemas.microsoft.com/office/drawing/2014/main" id="{96550741-CAAA-475D-94BF-DA7E83BA2AFC}"/>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F8D44D4B-17C2-4FFF-A198-0B5159579D34}"/>
              </a:ext>
            </a:extLst>
          </p:cNvPr>
          <p:cNvSpPr>
            <a:spLocks noGrp="1"/>
          </p:cNvSpPr>
          <p:nvPr>
            <p:ph type="body" sz="quarter" idx="12" hasCustomPrompt="1"/>
          </p:nvPr>
        </p:nvSpPr>
        <p:spPr>
          <a:xfrm>
            <a:off x="390331" y="3888870"/>
            <a:ext cx="11420475"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Tree>
    <p:extLst>
      <p:ext uri="{BB962C8B-B14F-4D97-AF65-F5344CB8AC3E}">
        <p14:creationId xmlns:p14="http://schemas.microsoft.com/office/powerpoint/2010/main" val="14523890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8AB1C77E-3414-4616-ADB9-D64EDC212D53}"/>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323383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2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5390706" y="622800"/>
            <a:ext cx="6172643" cy="33547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t>Click to add title</a:t>
            </a:r>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6" name="Graphic 5">
            <a:extLst>
              <a:ext uri="{FF2B5EF4-FFF2-40B4-BE49-F238E27FC236}">
                <a16:creationId xmlns:a16="http://schemas.microsoft.com/office/drawing/2014/main" id="{144EFAD7-CDEA-404A-A3BA-848DC6D3EA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0575"/>
            <a:ext cx="2743200" cy="208825"/>
          </a:xfrm>
          <a:prstGeom prst="rect">
            <a:avLst/>
          </a:prstGeom>
        </p:spPr>
      </p:pic>
      <p:sp>
        <p:nvSpPr>
          <p:cNvPr id="8" name="Rectangle 7">
            <a:extLst>
              <a:ext uri="{FF2B5EF4-FFF2-40B4-BE49-F238E27FC236}">
                <a16:creationId xmlns:a16="http://schemas.microsoft.com/office/drawing/2014/main" id="{6DD065F2-27B2-48D6-A9CC-8ABFAC08D1C4}"/>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87541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Master">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55864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59" name="Rectangle 58"/>
          <p:cNvSpPr/>
          <p:nvPr userDrawn="1"/>
        </p:nvSpPr>
        <p:spPr bwMode="white">
          <a:xfrm>
            <a:off x="9854586" y="2465379"/>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a:extLst>
              <a:ext uri="{FF2B5EF4-FFF2-40B4-BE49-F238E27FC236}">
                <a16:creationId xmlns:a16="http://schemas.microsoft.com/office/drawing/2014/main" id="{438876F1-D36D-4BDC-A95B-BF77B1BB35F1}"/>
              </a:ext>
            </a:extLst>
          </p:cNvPr>
          <p:cNvSpPr txBox="1">
            <a:spLocks/>
          </p:cNvSpPr>
          <p:nvPr userDrawn="1"/>
        </p:nvSpPr>
        <p:spPr bwMode="blackWhite">
          <a:xfrm>
            <a:off x="625523" y="2976385"/>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buNone/>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716405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3254733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280840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F348BF7E-8E6F-450C-B2BC-F3872A10F871}"/>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31910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efault Slide">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478B-85B0-4C3D-AAA8-830F002E3777}"/>
              </a:ext>
            </a:extLst>
          </p:cNvPr>
          <p:cNvSpPr/>
          <p:nvPr/>
        </p:nvSpPr>
        <p:spPr>
          <a:xfrm>
            <a:off x="0" y="0"/>
            <a:ext cx="3761982" cy="6858000"/>
          </a:xfrm>
          <a:prstGeom prst="rect">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pic>
        <p:nvPicPr>
          <p:cNvPr id="3" name="Graphic 2">
            <a:extLst>
              <a:ext uri="{FF2B5EF4-FFF2-40B4-BE49-F238E27FC236}">
                <a16:creationId xmlns:a16="http://schemas.microsoft.com/office/drawing/2014/main" id="{AA8B2F94-28C9-4405-AE6B-CD9ED300E2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0331" y="6421262"/>
            <a:ext cx="2743200" cy="208825"/>
          </a:xfrm>
          <a:prstGeom prst="rect">
            <a:avLst/>
          </a:prstGeom>
        </p:spPr>
      </p:pic>
    </p:spTree>
    <p:extLst>
      <p:ext uri="{BB962C8B-B14F-4D97-AF65-F5344CB8AC3E}">
        <p14:creationId xmlns:p14="http://schemas.microsoft.com/office/powerpoint/2010/main" val="245271757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5_Default Slide">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478B-85B0-4C3D-AAA8-830F002E3777}"/>
              </a:ext>
            </a:extLst>
          </p:cNvPr>
          <p:cNvSpPr/>
          <p:nvPr/>
        </p:nvSpPr>
        <p:spPr>
          <a:xfrm>
            <a:off x="-1" y="0"/>
            <a:ext cx="4982547" cy="6858000"/>
          </a:xfrm>
          <a:prstGeom prst="rect">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pic>
        <p:nvPicPr>
          <p:cNvPr id="3" name="Graphic 2">
            <a:extLst>
              <a:ext uri="{FF2B5EF4-FFF2-40B4-BE49-F238E27FC236}">
                <a16:creationId xmlns:a16="http://schemas.microsoft.com/office/drawing/2014/main" id="{AA8B2F94-28C9-4405-AE6B-CD9ED300E2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0331" y="6421262"/>
            <a:ext cx="2743200" cy="208825"/>
          </a:xfrm>
          <a:prstGeom prst="rect">
            <a:avLst/>
          </a:prstGeom>
        </p:spPr>
      </p:pic>
      <p:sp>
        <p:nvSpPr>
          <p:cNvPr id="4" name="Isosceles Triangle 3">
            <a:extLst>
              <a:ext uri="{FF2B5EF4-FFF2-40B4-BE49-F238E27FC236}">
                <a16:creationId xmlns:a16="http://schemas.microsoft.com/office/drawing/2014/main" id="{6BD378F8-121A-42EA-A85D-8378398926D1}"/>
              </a:ext>
            </a:extLst>
          </p:cNvPr>
          <p:cNvSpPr/>
          <p:nvPr userDrawn="1"/>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914116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7_Default Slide">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478B-85B0-4C3D-AAA8-830F002E3777}"/>
              </a:ext>
            </a:extLst>
          </p:cNvPr>
          <p:cNvSpPr/>
          <p:nvPr/>
        </p:nvSpPr>
        <p:spPr>
          <a:xfrm>
            <a:off x="-1" y="0"/>
            <a:ext cx="4982547" cy="6858000"/>
          </a:xfrm>
          <a:prstGeom prst="rect">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pic>
        <p:nvPicPr>
          <p:cNvPr id="3" name="Graphic 2">
            <a:extLst>
              <a:ext uri="{FF2B5EF4-FFF2-40B4-BE49-F238E27FC236}">
                <a16:creationId xmlns:a16="http://schemas.microsoft.com/office/drawing/2014/main" id="{AA8B2F94-28C9-4405-AE6B-CD9ED300E2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0331" y="6421262"/>
            <a:ext cx="2743200" cy="208825"/>
          </a:xfrm>
          <a:prstGeom prst="rect">
            <a:avLst/>
          </a:prstGeom>
        </p:spPr>
      </p:pic>
    </p:spTree>
    <p:extLst>
      <p:ext uri="{BB962C8B-B14F-4D97-AF65-F5344CB8AC3E}">
        <p14:creationId xmlns:p14="http://schemas.microsoft.com/office/powerpoint/2010/main" val="196235282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4"/>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5390706" y="622800"/>
            <a:ext cx="6172643" cy="33547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t>Click to add title</a:t>
            </a:r>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5" name="Isosceles Triangle 4">
            <a:extLst>
              <a:ext uri="{FF2B5EF4-FFF2-40B4-BE49-F238E27FC236}">
                <a16:creationId xmlns:a16="http://schemas.microsoft.com/office/drawing/2014/main" id="{CCD8661F-3DEB-4E48-9253-694AEFE377A5}"/>
              </a:ext>
            </a:extLst>
          </p:cNvPr>
          <p:cNvSpPr/>
          <p:nvPr userDrawn="1"/>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pic>
        <p:nvPicPr>
          <p:cNvPr id="6" name="Graphic 5">
            <a:extLst>
              <a:ext uri="{FF2B5EF4-FFF2-40B4-BE49-F238E27FC236}">
                <a16:creationId xmlns:a16="http://schemas.microsoft.com/office/drawing/2014/main" id="{144EFAD7-CDEA-404A-A3BA-848DC6D3EA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0575"/>
            <a:ext cx="2743200" cy="208825"/>
          </a:xfrm>
          <a:prstGeom prst="rect">
            <a:avLst/>
          </a:prstGeom>
        </p:spPr>
      </p:pic>
      <p:sp>
        <p:nvSpPr>
          <p:cNvPr id="7" name="Rectangle 6">
            <a:extLst>
              <a:ext uri="{FF2B5EF4-FFF2-40B4-BE49-F238E27FC236}">
                <a16:creationId xmlns:a16="http://schemas.microsoft.com/office/drawing/2014/main" id="{E4B6FA31-AAC3-4FB9-8128-918FAED4C38D}"/>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80781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Subtitle Only">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5" name="TextBox 7">
            <a:extLst>
              <a:ext uri="{FF2B5EF4-FFF2-40B4-BE49-F238E27FC236}">
                <a16:creationId xmlns:a16="http://schemas.microsoft.com/office/drawing/2014/main" id="{DB81CE39-F44A-4930-BF7D-63EDC9B2DF6C}"/>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9389815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2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4"/>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5390706" y="622800"/>
            <a:ext cx="6172643" cy="33547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t>Click to add title</a:t>
            </a:r>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6" name="Graphic 5">
            <a:extLst>
              <a:ext uri="{FF2B5EF4-FFF2-40B4-BE49-F238E27FC236}">
                <a16:creationId xmlns:a16="http://schemas.microsoft.com/office/drawing/2014/main" id="{144EFAD7-CDEA-404A-A3BA-848DC6D3EA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0575"/>
            <a:ext cx="2743200" cy="208825"/>
          </a:xfrm>
          <a:prstGeom prst="rect">
            <a:avLst/>
          </a:prstGeom>
        </p:spPr>
      </p:pic>
      <p:sp>
        <p:nvSpPr>
          <p:cNvPr id="7" name="Rectangle 6">
            <a:extLst>
              <a:ext uri="{FF2B5EF4-FFF2-40B4-BE49-F238E27FC236}">
                <a16:creationId xmlns:a16="http://schemas.microsoft.com/office/drawing/2014/main" id="{46DA901D-8824-4979-AD8E-B30D64A1E77B}"/>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49452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676230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4"/>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7751135" y="622800"/>
            <a:ext cx="3812214" cy="33547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t>Click to add title</a:t>
            </a:r>
            <a:endParaRPr lang="en-US" dirty="0"/>
          </a:p>
        </p:txBody>
      </p:sp>
      <p:sp>
        <p:nvSpPr>
          <p:cNvPr id="5" name="Isosceles Triangle 4">
            <a:extLst>
              <a:ext uri="{FF2B5EF4-FFF2-40B4-BE49-F238E27FC236}">
                <a16:creationId xmlns:a16="http://schemas.microsoft.com/office/drawing/2014/main" id="{CCD8661F-3DEB-4E48-9253-694AEFE377A5}"/>
              </a:ext>
            </a:extLst>
          </p:cNvPr>
          <p:cNvSpPr/>
          <p:nvPr userDrawn="1"/>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pic>
        <p:nvPicPr>
          <p:cNvPr id="6" name="Graphic 5">
            <a:extLst>
              <a:ext uri="{FF2B5EF4-FFF2-40B4-BE49-F238E27FC236}">
                <a16:creationId xmlns:a16="http://schemas.microsoft.com/office/drawing/2014/main" id="{144EFAD7-CDEA-404A-A3BA-848DC6D3EA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331" y="6420575"/>
            <a:ext cx="2743200" cy="208825"/>
          </a:xfrm>
          <a:prstGeom prst="rect">
            <a:avLst/>
          </a:prstGeom>
        </p:spPr>
      </p:pic>
      <p:sp>
        <p:nvSpPr>
          <p:cNvPr id="7" name="Rectangle 6">
            <a:extLst>
              <a:ext uri="{FF2B5EF4-FFF2-40B4-BE49-F238E27FC236}">
                <a16:creationId xmlns:a16="http://schemas.microsoft.com/office/drawing/2014/main" id="{157C9896-8363-42D3-8587-9FBE7378DBF1}"/>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25652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3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676230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4"/>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7751135" y="622800"/>
            <a:ext cx="3812214" cy="33547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t>Click to add title</a:t>
            </a:r>
            <a:endParaRPr lang="en-US" dirty="0"/>
          </a:p>
        </p:txBody>
      </p:sp>
      <p:pic>
        <p:nvPicPr>
          <p:cNvPr id="6" name="Graphic 5">
            <a:extLst>
              <a:ext uri="{FF2B5EF4-FFF2-40B4-BE49-F238E27FC236}">
                <a16:creationId xmlns:a16="http://schemas.microsoft.com/office/drawing/2014/main" id="{144EFAD7-CDEA-404A-A3BA-848DC6D3EA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331" y="6420575"/>
            <a:ext cx="2743200" cy="208825"/>
          </a:xfrm>
          <a:prstGeom prst="rect">
            <a:avLst/>
          </a:prstGeom>
        </p:spPr>
      </p:pic>
      <p:sp>
        <p:nvSpPr>
          <p:cNvPr id="7" name="Rectangle 6">
            <a:extLst>
              <a:ext uri="{FF2B5EF4-FFF2-40B4-BE49-F238E27FC236}">
                <a16:creationId xmlns:a16="http://schemas.microsoft.com/office/drawing/2014/main" id="{157C9896-8363-42D3-8587-9FBE7378DBF1}"/>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03895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2_Overview with image on r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0086578-C9A9-400F-BECE-935F00F63FC1}"/>
              </a:ext>
            </a:extLst>
          </p:cNvPr>
          <p:cNvSpPr/>
          <p:nvPr/>
        </p:nvSpPr>
        <p:spPr>
          <a:xfrm>
            <a:off x="0" y="0"/>
            <a:ext cx="7166344" cy="6858000"/>
          </a:xfrm>
          <a:prstGeom prst="rect">
            <a:avLst/>
          </a:prstGeom>
          <a:gradFill>
            <a:gsLst>
              <a:gs pos="0">
                <a:schemeClr val="accent4"/>
              </a:gs>
              <a:gs pos="100000">
                <a:schemeClr val="accent2"/>
              </a:gs>
            </a:gsLst>
            <a:lin ang="8100000" scaled="1"/>
          </a:gra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a:t>Click icon to add picture</a:t>
            </a:r>
            <a:endParaRPr lang="en-US" dirty="0"/>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22542653"/>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84011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t>Click to add title</a:t>
            </a:r>
            <a:endParaRPr lang="en-US" dirty="0"/>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4386CD49-D10B-4F20-9649-973DCA541FA9}"/>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Graphic 9">
            <a:extLst>
              <a:ext uri="{FF2B5EF4-FFF2-40B4-BE49-F238E27FC236}">
                <a16:creationId xmlns:a16="http://schemas.microsoft.com/office/drawing/2014/main" id="{9E2CF8E4-C99D-4DBC-AF8B-F26F8079B74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90331" y="6420575"/>
            <a:ext cx="2743200" cy="208825"/>
          </a:xfrm>
          <a:prstGeom prst="rect">
            <a:avLst/>
          </a:prstGeom>
        </p:spPr>
      </p:pic>
    </p:spTree>
    <p:extLst>
      <p:ext uri="{BB962C8B-B14F-4D97-AF65-F5344CB8AC3E}">
        <p14:creationId xmlns:p14="http://schemas.microsoft.com/office/powerpoint/2010/main" val="2278483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Title 2"/>
          <p:cNvSpPr>
            <a:spLocks noGrp="1"/>
          </p:cNvSpPr>
          <p:nvPr>
            <p:ph type="title" hasCustomPrompt="1"/>
          </p:nvPr>
        </p:nvSpPr>
        <p:spPr>
          <a:xfrm>
            <a:off x="630000" y="622800"/>
            <a:ext cx="10933350"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lvl="0"/>
            <a:r>
              <a:rPr lang="en-US"/>
              <a:t>Click to add title</a:t>
            </a:r>
            <a:endParaRPr lang="en-US" dirty="0"/>
          </a:p>
        </p:txBody>
      </p:sp>
      <p:sp>
        <p:nvSpPr>
          <p:cNvPr id="14" name="Pentagon 8"/>
          <p:cNvSpPr/>
          <p:nvPr userDrawn="1"/>
        </p:nvSpPr>
        <p:spPr bwMode="white">
          <a:xfrm>
            <a:off x="-1" y="0"/>
            <a:ext cx="854300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0" name="Rectangle 9">
            <a:extLst>
              <a:ext uri="{FF2B5EF4-FFF2-40B4-BE49-F238E27FC236}">
                <a16:creationId xmlns:a16="http://schemas.microsoft.com/office/drawing/2014/main" id="{00325C9F-768F-4707-A915-AC4ECE50846D}"/>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51922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Arrow half">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Title 2"/>
          <p:cNvSpPr>
            <a:spLocks noGrp="1"/>
          </p:cNvSpPr>
          <p:nvPr>
            <p:ph type="title" hasCustomPrompt="1"/>
          </p:nvPr>
        </p:nvSpPr>
        <p:spPr>
          <a:xfrm>
            <a:off x="630000" y="622800"/>
            <a:ext cx="10933350"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lvl="0"/>
            <a:r>
              <a:rPr lang="en-US"/>
              <a:t>Click to add title</a:t>
            </a:r>
            <a:endParaRPr lang="en-US" dirty="0"/>
          </a:p>
        </p:txBody>
      </p:sp>
      <p:grpSp>
        <p:nvGrpSpPr>
          <p:cNvPr id="2" name="Group 1">
            <a:extLst>
              <a:ext uri="{FF2B5EF4-FFF2-40B4-BE49-F238E27FC236}">
                <a16:creationId xmlns:a16="http://schemas.microsoft.com/office/drawing/2014/main" id="{D6B7EF39-1C5E-4A64-AE1B-28544A255880}"/>
              </a:ext>
            </a:extLst>
          </p:cNvPr>
          <p:cNvGrpSpPr/>
          <p:nvPr userDrawn="1"/>
        </p:nvGrpSpPr>
        <p:grpSpPr>
          <a:xfrm>
            <a:off x="0" y="0"/>
            <a:ext cx="4391247" cy="6972568"/>
            <a:chOff x="0" y="0"/>
            <a:chExt cx="6763056" cy="6972568"/>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grpSp>
      <p:sp>
        <p:nvSpPr>
          <p:cNvPr id="10" name="Rectangle 9">
            <a:extLst>
              <a:ext uri="{FF2B5EF4-FFF2-40B4-BE49-F238E27FC236}">
                <a16:creationId xmlns:a16="http://schemas.microsoft.com/office/drawing/2014/main" id="{41D540CB-4AFE-4C97-8D52-52A9B0EB588F}"/>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 name="Graphic 10">
            <a:extLst>
              <a:ext uri="{FF2B5EF4-FFF2-40B4-BE49-F238E27FC236}">
                <a16:creationId xmlns:a16="http://schemas.microsoft.com/office/drawing/2014/main" id="{84DD4D18-BD24-4D2E-A052-5E1B39FE5C6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0575"/>
            <a:ext cx="2743200" cy="208825"/>
          </a:xfrm>
          <a:prstGeom prst="rect">
            <a:avLst/>
          </a:prstGeom>
        </p:spPr>
      </p:pic>
    </p:spTree>
    <p:extLst>
      <p:ext uri="{BB962C8B-B14F-4D97-AF65-F5344CB8AC3E}">
        <p14:creationId xmlns:p14="http://schemas.microsoft.com/office/powerpoint/2010/main" val="2597291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2_Arrow half">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Title 2"/>
          <p:cNvSpPr>
            <a:spLocks noGrp="1"/>
          </p:cNvSpPr>
          <p:nvPr>
            <p:ph type="title" hasCustomPrompt="1"/>
          </p:nvPr>
        </p:nvSpPr>
        <p:spPr>
          <a:xfrm>
            <a:off x="630000" y="622800"/>
            <a:ext cx="10933350"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lvl="0"/>
            <a:r>
              <a:rPr lang="en-US"/>
              <a:t>Click to add title</a:t>
            </a:r>
            <a:endParaRPr lang="en-US" dirty="0"/>
          </a:p>
        </p:txBody>
      </p:sp>
      <p:sp>
        <p:nvSpPr>
          <p:cNvPr id="14" name="Pentagon 8"/>
          <p:cNvSpPr/>
          <p:nvPr userDrawn="1"/>
        </p:nvSpPr>
        <p:spPr bwMode="white">
          <a:xfrm>
            <a:off x="0" y="0"/>
            <a:ext cx="96743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0" name="Rectangle 9">
            <a:extLst>
              <a:ext uri="{FF2B5EF4-FFF2-40B4-BE49-F238E27FC236}">
                <a16:creationId xmlns:a16="http://schemas.microsoft.com/office/drawing/2014/main" id="{41D540CB-4AFE-4C97-8D52-52A9B0EB588F}"/>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4907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73573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lumMod val="60000"/>
              <a:lumOff val="40000"/>
            </a:schemeClr>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198408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Blank">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7F1FC4F-9178-4A32-93D9-813438F51FE0}"/>
              </a:ext>
            </a:extLst>
          </p:cNvPr>
          <p:cNvGrpSpPr/>
          <p:nvPr/>
        </p:nvGrpSpPr>
        <p:grpSpPr>
          <a:xfrm>
            <a:off x="-1" y="0"/>
            <a:ext cx="4614531" cy="6858000"/>
            <a:chOff x="0" y="0"/>
            <a:chExt cx="7517364" cy="6858000"/>
          </a:xfrm>
          <a:solidFill>
            <a:schemeClr val="tx1">
              <a:lumMod val="20000"/>
              <a:lumOff val="80000"/>
            </a:schemeClr>
          </a:solidFill>
        </p:grpSpPr>
        <p:sp>
          <p:nvSpPr>
            <p:cNvPr id="2" name="Rectangle 1">
              <a:extLst>
                <a:ext uri="{FF2B5EF4-FFF2-40B4-BE49-F238E27FC236}">
                  <a16:creationId xmlns:a16="http://schemas.microsoft.com/office/drawing/2014/main" id="{29D495D6-FA15-4D89-9015-E1D7302DF915}"/>
                </a:ext>
              </a:extLst>
            </p:cNvPr>
            <p:cNvSpPr/>
            <p:nvPr/>
          </p:nvSpPr>
          <p:spPr>
            <a:xfrm>
              <a:off x="0" y="0"/>
              <a:ext cx="6096000" cy="6858000"/>
            </a:xfrm>
            <a:prstGeom prst="rect">
              <a:avLst/>
            </a:prstGeom>
            <a:grp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6" name="Isosceles Triangle 5">
              <a:extLst>
                <a:ext uri="{FF2B5EF4-FFF2-40B4-BE49-F238E27FC236}">
                  <a16:creationId xmlns:a16="http://schemas.microsoft.com/office/drawing/2014/main" id="{32CE8656-BDEA-4EE4-945E-AF502CBB6757}"/>
                </a:ext>
              </a:extLst>
            </p:cNvPr>
            <p:cNvSpPr/>
            <p:nvPr/>
          </p:nvSpPr>
          <p:spPr>
            <a:xfrm rot="5400000">
              <a:off x="3377682" y="2718318"/>
              <a:ext cx="6858000" cy="1421364"/>
            </a:xfrm>
            <a:prstGeom prst="triangle">
              <a:avLst/>
            </a:prstGeom>
            <a:solidFill>
              <a:schemeClr val="tx1">
                <a:lumMod val="20000"/>
                <a:lumOff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6907280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image" Target="../media/image20.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slideLayout" Target="../slideLayouts/slideLayout80.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image" Target="../media/image2.svg"/><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image" Target="../media/image1.png"/><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41" Type="http://schemas.openxmlformats.org/officeDocument/2006/relationships/slideLayout" Target="../slideLayouts/slideLayout121.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4" Type="http://schemas.openxmlformats.org/officeDocument/2006/relationships/theme" Target="../theme/theme4.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8" Type="http://schemas.openxmlformats.org/officeDocument/2006/relationships/slideLayout" Target="../slideLayouts/slideLayout88.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image" Target="../media/image20.png"/><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13631A-55B6-45D8-A1D2-0EAEF33467DE}"/>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Graphic 1">
            <a:extLst>
              <a:ext uri="{FF2B5EF4-FFF2-40B4-BE49-F238E27FC236}">
                <a16:creationId xmlns:a16="http://schemas.microsoft.com/office/drawing/2014/main" id="{7D48FBEF-8AE3-46D5-85A1-56BB87B49123}"/>
              </a:ext>
            </a:extLst>
          </p:cNvPr>
          <p:cNvPicPr>
            <a:picLocks noChangeAspect="1"/>
          </p:cNvPicPr>
          <p:nvPr userDrawn="1"/>
        </p:nvPicPr>
        <p:blipFill>
          <a:blip r:embed="rId27">
            <a:extLst>
              <a:ext uri="{96DAC541-7B7A-43D3-8B79-37D633B846F1}">
                <asvg:svgBlip xmlns:asvg="http://schemas.microsoft.com/office/drawing/2016/SVG/main" r:embed="rId28"/>
              </a:ext>
            </a:extLst>
          </a:blip>
          <a:stretch>
            <a:fillRect/>
          </a:stretch>
        </p:blipFill>
        <p:spPr>
          <a:xfrm>
            <a:off x="390331" y="6420575"/>
            <a:ext cx="2743200" cy="208825"/>
          </a:xfrm>
          <a:prstGeom prst="rect">
            <a:avLst/>
          </a:prstGeom>
        </p:spPr>
      </p:pic>
    </p:spTree>
    <p:extLst>
      <p:ext uri="{BB962C8B-B14F-4D97-AF65-F5344CB8AC3E}">
        <p14:creationId xmlns:p14="http://schemas.microsoft.com/office/powerpoint/2010/main" val="1606929460"/>
      </p:ext>
    </p:extLst>
  </p:cSld>
  <p:clrMap bg1="lt1" tx1="dk1" bg2="lt2" tx2="dk2" accent1="accent1" accent2="accent2" accent3="accent3" accent4="accent4" accent5="accent5" accent6="accent6" hlink="hlink" folHlink="folHlink"/>
  <p:sldLayoutIdLst>
    <p:sldLayoutId id="2147484291" r:id="rId1"/>
    <p:sldLayoutId id="2147484293" r:id="rId2"/>
    <p:sldLayoutId id="2147484292" r:id="rId3"/>
    <p:sldLayoutId id="2147484296" r:id="rId4"/>
    <p:sldLayoutId id="2147484295" r:id="rId5"/>
    <p:sldLayoutId id="2147484294" r:id="rId6"/>
    <p:sldLayoutId id="2147484309" r:id="rId7"/>
    <p:sldLayoutId id="2147484273" r:id="rId8"/>
    <p:sldLayoutId id="2147484281" r:id="rId9"/>
    <p:sldLayoutId id="2147484302" r:id="rId10"/>
    <p:sldLayoutId id="2147484290" r:id="rId11"/>
    <p:sldLayoutId id="2147484304" r:id="rId12"/>
    <p:sldLayoutId id="2147484287" r:id="rId13"/>
    <p:sldLayoutId id="2147484303" r:id="rId14"/>
    <p:sldLayoutId id="2147484288" r:id="rId15"/>
    <p:sldLayoutId id="2147484269" r:id="rId16"/>
    <p:sldLayoutId id="2147484298" r:id="rId17"/>
    <p:sldLayoutId id="2147484300" r:id="rId18"/>
    <p:sldLayoutId id="2147484305" r:id="rId19"/>
    <p:sldLayoutId id="2147484310" r:id="rId20"/>
    <p:sldLayoutId id="2147484306" r:id="rId21"/>
    <p:sldLayoutId id="2147484307" r:id="rId22"/>
    <p:sldLayoutId id="2147484308" r:id="rId23"/>
    <p:sldLayoutId id="2147484283" r:id="rId24"/>
    <p:sldLayoutId id="2147484282" r:id="rId2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176">
          <p15:clr>
            <a:srgbClr val="F26B43"/>
          </p15:clr>
        </p15:guide>
        <p15:guide id="6" orient="horz" pos="3360">
          <p15:clr>
            <a:srgbClr val="F26B43"/>
          </p15:clr>
        </p15:guide>
        <p15:guide id="7" orient="horz" pos="396">
          <p15:clr>
            <a:srgbClr val="F26B43"/>
          </p15:clr>
        </p15:guide>
        <p15:guide id="8" orient="horz" pos="10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13631A-55B6-45D8-A1D2-0EAEF33467DE}"/>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AA693A46-2921-54D5-25A8-B5FB9D396547}"/>
              </a:ext>
            </a:extLst>
          </p:cNvPr>
          <p:cNvPicPr>
            <a:picLocks noChangeAspect="1"/>
          </p:cNvPicPr>
          <p:nvPr userDrawn="1"/>
        </p:nvPicPr>
        <p:blipFill>
          <a:blip r:embed="rId31"/>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1826751933"/>
      </p:ext>
    </p:extLst>
  </p:cSld>
  <p:clrMap bg1="lt1" tx1="dk1" bg2="lt2" tx2="dk2" accent1="accent1" accent2="accent2" accent3="accent3" accent4="accent4" accent5="accent5" accent6="accent6" hlink="hlink" folHlink="folHlink"/>
  <p:sldLayoutIdLst>
    <p:sldLayoutId id="2147484312" r:id="rId1"/>
    <p:sldLayoutId id="2147484313" r:id="rId2"/>
    <p:sldLayoutId id="2147484314" r:id="rId3"/>
    <p:sldLayoutId id="2147484315" r:id="rId4"/>
    <p:sldLayoutId id="2147484316" r:id="rId5"/>
    <p:sldLayoutId id="2147484317" r:id="rId6"/>
    <p:sldLayoutId id="2147484318" r:id="rId7"/>
    <p:sldLayoutId id="2147484319" r:id="rId8"/>
    <p:sldLayoutId id="2147484320" r:id="rId9"/>
    <p:sldLayoutId id="2147484321" r:id="rId10"/>
    <p:sldLayoutId id="2147484322" r:id="rId11"/>
    <p:sldLayoutId id="2147484323" r:id="rId12"/>
    <p:sldLayoutId id="2147484324" r:id="rId13"/>
    <p:sldLayoutId id="2147484325" r:id="rId14"/>
    <p:sldLayoutId id="2147484326" r:id="rId15"/>
    <p:sldLayoutId id="2147484327" r:id="rId16"/>
    <p:sldLayoutId id="2147484328" r:id="rId17"/>
    <p:sldLayoutId id="2147484329" r:id="rId18"/>
    <p:sldLayoutId id="2147484330" r:id="rId19"/>
    <p:sldLayoutId id="2147484331" r:id="rId20"/>
    <p:sldLayoutId id="2147484332" r:id="rId21"/>
    <p:sldLayoutId id="2147484333" r:id="rId22"/>
    <p:sldLayoutId id="2147484334" r:id="rId23"/>
    <p:sldLayoutId id="2147484335" r:id="rId24"/>
    <p:sldLayoutId id="2147484336" r:id="rId25"/>
    <p:sldLayoutId id="2147484337" r:id="rId26"/>
    <p:sldLayoutId id="2147484338" r:id="rId27"/>
    <p:sldLayoutId id="2147484339" r:id="rId28"/>
    <p:sldLayoutId id="2147484340" r:id="rId2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176">
          <p15:clr>
            <a:srgbClr val="F26B43"/>
          </p15:clr>
        </p15:guide>
        <p15:guide id="6" orient="horz" pos="3360">
          <p15:clr>
            <a:srgbClr val="F26B43"/>
          </p15:clr>
        </p15:guide>
        <p15:guide id="7" orient="horz" pos="396">
          <p15:clr>
            <a:srgbClr val="F26B43"/>
          </p15:clr>
        </p15:guide>
        <p15:guide id="8"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13631A-55B6-45D8-A1D2-0EAEF33467DE}"/>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Graphic 1">
            <a:extLst>
              <a:ext uri="{FF2B5EF4-FFF2-40B4-BE49-F238E27FC236}">
                <a16:creationId xmlns:a16="http://schemas.microsoft.com/office/drawing/2014/main" id="{7D48FBEF-8AE3-46D5-85A1-56BB87B49123}"/>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390331" y="6420575"/>
            <a:ext cx="2743200" cy="208825"/>
          </a:xfrm>
          <a:prstGeom prst="rect">
            <a:avLst/>
          </a:prstGeom>
        </p:spPr>
      </p:pic>
    </p:spTree>
    <p:extLst>
      <p:ext uri="{BB962C8B-B14F-4D97-AF65-F5344CB8AC3E}">
        <p14:creationId xmlns:p14="http://schemas.microsoft.com/office/powerpoint/2010/main" val="76201637"/>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 id="2147484360" r:id="rId19"/>
    <p:sldLayoutId id="2147484361" r:id="rId20"/>
    <p:sldLayoutId id="2147484362" r:id="rId21"/>
    <p:sldLayoutId id="2147484363" r:id="rId22"/>
    <p:sldLayoutId id="2147484364" r:id="rId23"/>
    <p:sldLayoutId id="2147484365" r:id="rId24"/>
    <p:sldLayoutId id="2147484366" r:id="rId25"/>
    <p:sldLayoutId id="2147484367" r:id="rId2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176">
          <p15:clr>
            <a:srgbClr val="F26B43"/>
          </p15:clr>
        </p15:guide>
        <p15:guide id="6" orient="horz" pos="3360">
          <p15:clr>
            <a:srgbClr val="F26B43"/>
          </p15:clr>
        </p15:guide>
        <p15:guide id="7" orient="horz" pos="396">
          <p15:clr>
            <a:srgbClr val="F26B43"/>
          </p15:clr>
        </p15:guide>
        <p15:guide id="8"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7320688"/>
      </p:ext>
    </p:extLst>
  </p:cSld>
  <p:clrMap bg1="lt1" tx1="dk1" bg2="lt2" tx2="dk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 id="2147484382" r:id="rId14"/>
    <p:sldLayoutId id="2147484383" r:id="rId15"/>
    <p:sldLayoutId id="2147484384" r:id="rId16"/>
    <p:sldLayoutId id="2147484385" r:id="rId17"/>
    <p:sldLayoutId id="2147484386" r:id="rId18"/>
    <p:sldLayoutId id="2147484387" r:id="rId19"/>
    <p:sldLayoutId id="2147484388" r:id="rId20"/>
    <p:sldLayoutId id="2147484389" r:id="rId21"/>
    <p:sldLayoutId id="2147484390" r:id="rId22"/>
    <p:sldLayoutId id="2147484391" r:id="rId23"/>
    <p:sldLayoutId id="2147484392" r:id="rId24"/>
    <p:sldLayoutId id="2147484393" r:id="rId25"/>
    <p:sldLayoutId id="2147484394" r:id="rId26"/>
    <p:sldLayoutId id="2147484395" r:id="rId27"/>
    <p:sldLayoutId id="2147484396" r:id="rId28"/>
    <p:sldLayoutId id="2147484397" r:id="rId29"/>
    <p:sldLayoutId id="2147484398" r:id="rId30"/>
    <p:sldLayoutId id="2147484399" r:id="rId31"/>
    <p:sldLayoutId id="2147484400" r:id="rId32"/>
    <p:sldLayoutId id="2147484401" r:id="rId33"/>
    <p:sldLayoutId id="2147484402" r:id="rId34"/>
    <p:sldLayoutId id="2147484403" r:id="rId35"/>
    <p:sldLayoutId id="2147484404" r:id="rId36"/>
    <p:sldLayoutId id="2147484405" r:id="rId37"/>
    <p:sldLayoutId id="2147484406" r:id="rId38"/>
    <p:sldLayoutId id="2147484407" r:id="rId39"/>
    <p:sldLayoutId id="2147484408" r:id="rId40"/>
    <p:sldLayoutId id="2147484409" r:id="rId41"/>
    <p:sldLayoutId id="2147484410" r:id="rId42"/>
    <p:sldLayoutId id="2147484411" r:id="rId4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68">
          <p15:clr>
            <a:srgbClr val="F26B43"/>
          </p15:clr>
        </p15:guide>
        <p15:guide id="4" pos="5112">
          <p15:clr>
            <a:srgbClr val="F26B43"/>
          </p15:clr>
        </p15:guide>
        <p15:guide id="6" orient="horz" pos="2880">
          <p15:clr>
            <a:srgbClr val="F26B43"/>
          </p15:clr>
        </p15:guide>
        <p15:guide id="7" orient="horz" pos="14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13631A-55B6-45D8-A1D2-0EAEF33467DE}"/>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AA693A46-2921-54D5-25A8-B5FB9D396547}"/>
              </a:ext>
            </a:extLst>
          </p:cNvPr>
          <p:cNvPicPr>
            <a:picLocks noChangeAspect="1"/>
          </p:cNvPicPr>
          <p:nvPr userDrawn="1"/>
        </p:nvPicPr>
        <p:blipFill>
          <a:blip r:embed="rId31"/>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2619763236"/>
      </p:ext>
    </p:extLst>
  </p:cSld>
  <p:clrMap bg1="lt1" tx1="dk1" bg2="lt2" tx2="dk2" accent1="accent1" accent2="accent2" accent3="accent3" accent4="accent4" accent5="accent5" accent6="accent6" hlink="hlink" folHlink="folHlink"/>
  <p:sldLayoutIdLst>
    <p:sldLayoutId id="2147484413" r:id="rId1"/>
    <p:sldLayoutId id="2147484414" r:id="rId2"/>
    <p:sldLayoutId id="2147484415" r:id="rId3"/>
    <p:sldLayoutId id="2147484416" r:id="rId4"/>
    <p:sldLayoutId id="2147484417" r:id="rId5"/>
    <p:sldLayoutId id="2147484418" r:id="rId6"/>
    <p:sldLayoutId id="2147484419" r:id="rId7"/>
    <p:sldLayoutId id="2147484420" r:id="rId8"/>
    <p:sldLayoutId id="2147484421" r:id="rId9"/>
    <p:sldLayoutId id="2147484422" r:id="rId10"/>
    <p:sldLayoutId id="2147484423" r:id="rId11"/>
    <p:sldLayoutId id="2147484424" r:id="rId12"/>
    <p:sldLayoutId id="2147484425" r:id="rId13"/>
    <p:sldLayoutId id="2147484426" r:id="rId14"/>
    <p:sldLayoutId id="2147484427" r:id="rId15"/>
    <p:sldLayoutId id="2147484428" r:id="rId16"/>
    <p:sldLayoutId id="2147484429" r:id="rId17"/>
    <p:sldLayoutId id="2147484430" r:id="rId18"/>
    <p:sldLayoutId id="2147484431" r:id="rId19"/>
    <p:sldLayoutId id="2147484432" r:id="rId20"/>
    <p:sldLayoutId id="2147484433" r:id="rId21"/>
    <p:sldLayoutId id="2147484434" r:id="rId22"/>
    <p:sldLayoutId id="2147484435" r:id="rId23"/>
    <p:sldLayoutId id="2147484436" r:id="rId24"/>
    <p:sldLayoutId id="2147484437" r:id="rId25"/>
    <p:sldLayoutId id="2147484438" r:id="rId26"/>
    <p:sldLayoutId id="2147484439" r:id="rId27"/>
    <p:sldLayoutId id="2147484440" r:id="rId28"/>
    <p:sldLayoutId id="2147484441" r:id="rId2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176">
          <p15:clr>
            <a:srgbClr val="F26B43"/>
          </p15:clr>
        </p15:guide>
        <p15:guide id="6" orient="horz" pos="3360">
          <p15:clr>
            <a:srgbClr val="F26B43"/>
          </p15:clr>
        </p15:guide>
        <p15:guide id="7" orient="horz" pos="396">
          <p15:clr>
            <a:srgbClr val="F26B43"/>
          </p15:clr>
        </p15:guide>
        <p15:guide id="8"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xml"/><Relationship Id="rId1" Type="http://schemas.openxmlformats.org/officeDocument/2006/relationships/slideLayout" Target="../slideLayouts/slideLayout5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68.png"/><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image" Target="../media/image53.svg"/><Relationship Id="rId5" Type="http://schemas.openxmlformats.org/officeDocument/2006/relationships/image" Target="../media/image52.png"/><Relationship Id="rId10" Type="http://schemas.openxmlformats.org/officeDocument/2006/relationships/image" Target="../media/image57.svg"/><Relationship Id="rId4" Type="http://schemas.openxmlformats.org/officeDocument/2006/relationships/image" Target="../media/image51.svg"/><Relationship Id="rId9" Type="http://schemas.openxmlformats.org/officeDocument/2006/relationships/image" Target="../media/image56.png"/></Relationships>
</file>

<file path=ppt/slides/_rels/slide3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3.xml"/></Relationships>
</file>

<file path=ppt/slides/_rels/slide33.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svg"/><Relationship Id="rId3" Type="http://schemas.openxmlformats.org/officeDocument/2006/relationships/image" Target="../media/image72.svg"/><Relationship Id="rId7" Type="http://schemas.openxmlformats.org/officeDocument/2006/relationships/image" Target="../media/image76.svg"/><Relationship Id="rId12" Type="http://schemas.openxmlformats.org/officeDocument/2006/relationships/image" Target="../media/image81.png"/><Relationship Id="rId2" Type="http://schemas.openxmlformats.org/officeDocument/2006/relationships/image" Target="../media/image71.png"/><Relationship Id="rId1" Type="http://schemas.openxmlformats.org/officeDocument/2006/relationships/slideLayout" Target="../slideLayouts/slideLayout123.xml"/><Relationship Id="rId6" Type="http://schemas.openxmlformats.org/officeDocument/2006/relationships/image" Target="../media/image75.png"/><Relationship Id="rId11" Type="http://schemas.openxmlformats.org/officeDocument/2006/relationships/image" Target="../media/image80.svg"/><Relationship Id="rId5" Type="http://schemas.openxmlformats.org/officeDocument/2006/relationships/image" Target="../media/image74.sv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sv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svg"/><Relationship Id="rId3" Type="http://schemas.openxmlformats.org/officeDocument/2006/relationships/image" Target="../media/image87.jpg"/><Relationship Id="rId7" Type="http://schemas.openxmlformats.org/officeDocument/2006/relationships/image" Target="../media/image91.svg"/><Relationship Id="rId12" Type="http://schemas.openxmlformats.org/officeDocument/2006/relationships/image" Target="../media/image96.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90.png"/><Relationship Id="rId11" Type="http://schemas.openxmlformats.org/officeDocument/2006/relationships/image" Target="../media/image95.svg"/><Relationship Id="rId5" Type="http://schemas.openxmlformats.org/officeDocument/2006/relationships/image" Target="../media/image89.svg"/><Relationship Id="rId15" Type="http://schemas.openxmlformats.org/officeDocument/2006/relationships/image" Target="../media/image99.sv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svg"/><Relationship Id="rId14" Type="http://schemas.openxmlformats.org/officeDocument/2006/relationships/image" Target="../media/image98.png"/></Relationships>
</file>

<file path=ppt/slides/_rels/slide44.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17.xml"/><Relationship Id="rId1" Type="http://schemas.openxmlformats.org/officeDocument/2006/relationships/slideLayout" Target="../slideLayouts/slideLayout15.xml"/><Relationship Id="rId5" Type="http://schemas.openxmlformats.org/officeDocument/2006/relationships/image" Target="../media/image49.jpeg"/><Relationship Id="rId4" Type="http://schemas.openxmlformats.org/officeDocument/2006/relationships/hyperlink" Target="mailto:mwhite@bakerdonelson.com"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www.bakerdonelson.com/" TargetMode="External"/><Relationship Id="rId2" Type="http://schemas.openxmlformats.org/officeDocument/2006/relationships/notesSlide" Target="../notesSlides/notesSlide18.xml"/><Relationship Id="rId1" Type="http://schemas.openxmlformats.org/officeDocument/2006/relationships/slideLayout" Target="../slideLayouts/slideLayout25.xml"/><Relationship Id="rId6" Type="http://schemas.openxmlformats.org/officeDocument/2006/relationships/hyperlink" Target="https://www.linkedin.com/company/baker-donelson/" TargetMode="External"/><Relationship Id="rId5" Type="http://schemas.openxmlformats.org/officeDocument/2006/relationships/hyperlink" Target="https://www.facebook.com/BakerDonelson/" TargetMode="External"/><Relationship Id="rId4" Type="http://schemas.openxmlformats.org/officeDocument/2006/relationships/hyperlink" Target="https://twitter.com/Baker_Donelson"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1B4FC0-7900-4DD7-B595-7223C430ED30}"/>
              </a:ext>
            </a:extLst>
          </p:cNvPr>
          <p:cNvSpPr>
            <a:spLocks noGrp="1"/>
          </p:cNvSpPr>
          <p:nvPr>
            <p:ph type="body" sz="quarter" idx="10"/>
          </p:nvPr>
        </p:nvSpPr>
        <p:spPr>
          <a:xfrm>
            <a:off x="381000" y="568511"/>
            <a:ext cx="11430000" cy="1430074"/>
          </a:xfrm>
        </p:spPr>
        <p:txBody>
          <a:bodyPr/>
          <a:lstStyle/>
          <a:p>
            <a:r>
              <a:rPr lang="en-US" sz="3600" dirty="0">
                <a:latin typeface="Open Sans" panose="020B0606030504020204" pitchFamily="34" charset="0"/>
                <a:ea typeface="Open Sans" panose="020B0606030504020204" pitchFamily="34" charset="0"/>
                <a:cs typeface="Open Sans" panose="020B0606030504020204" pitchFamily="34" charset="0"/>
              </a:rPr>
              <a:t>AI in the Financial Industry: </a:t>
            </a:r>
          </a:p>
          <a:p>
            <a:r>
              <a:rPr lang="en-US" sz="3600" dirty="0">
                <a:latin typeface="Open Sans" panose="020B0606030504020204" pitchFamily="34" charset="0"/>
                <a:ea typeface="Open Sans" panose="020B0606030504020204" pitchFamily="34" charset="0"/>
                <a:cs typeface="Open Sans" panose="020B0606030504020204" pitchFamily="34" charset="0"/>
              </a:rPr>
              <a:t>Balancing Innovation, Risk, and Regulation</a:t>
            </a:r>
            <a:endParaRPr lang="en-US" sz="800" dirty="0">
              <a:latin typeface="Open Sans" panose="020B0606030504020204" pitchFamily="34" charset="0"/>
              <a:ea typeface="Open Sans" panose="020B0606030504020204" pitchFamily="34" charset="0"/>
              <a:cs typeface="Open Sans" panose="020B0606030504020204" pitchFamily="34" charset="0"/>
            </a:endParaRPr>
          </a:p>
          <a:p>
            <a:r>
              <a:rPr lang="en-US" sz="1600" i="1" dirty="0" err="1">
                <a:latin typeface="Open Sans" panose="020B0606030504020204" pitchFamily="34" charset="0"/>
                <a:ea typeface="Open Sans" panose="020B0606030504020204" pitchFamily="34" charset="0"/>
                <a:cs typeface="Open Sans" panose="020B0606030504020204" pitchFamily="34" charset="0"/>
              </a:rPr>
              <a:t>FMA</a:t>
            </a:r>
            <a:r>
              <a:rPr lang="en-US" sz="1600" i="1" dirty="0">
                <a:latin typeface="Open Sans" panose="020B0606030504020204" pitchFamily="34" charset="0"/>
                <a:ea typeface="Open Sans" panose="020B0606030504020204" pitchFamily="34" charset="0"/>
                <a:cs typeface="Open Sans" panose="020B0606030504020204" pitchFamily="34" charset="0"/>
              </a:rPr>
              <a:t> Securities Compliance Seminar</a:t>
            </a:r>
          </a:p>
        </p:txBody>
      </p:sp>
      <p:sp>
        <p:nvSpPr>
          <p:cNvPr id="3" name="Text Placeholder 2">
            <a:extLst>
              <a:ext uri="{FF2B5EF4-FFF2-40B4-BE49-F238E27FC236}">
                <a16:creationId xmlns:a16="http://schemas.microsoft.com/office/drawing/2014/main" id="{FD21C025-08F2-4F10-AC28-28A4FD22BC20}"/>
              </a:ext>
            </a:extLst>
          </p:cNvPr>
          <p:cNvSpPr>
            <a:spLocks noGrp="1"/>
          </p:cNvSpPr>
          <p:nvPr>
            <p:ph type="body" sz="quarter" idx="11"/>
          </p:nvPr>
        </p:nvSpPr>
        <p:spPr/>
        <p:txBody>
          <a:bodyPr/>
          <a:lstStyle/>
          <a:p>
            <a:r>
              <a:rPr lang="en-US" sz="1800" dirty="0">
                <a:latin typeface="Poppins" panose="00000500000000000000" pitchFamily="2" charset="0"/>
                <a:cs typeface="Poppins" panose="00000500000000000000" pitchFamily="2" charset="0"/>
              </a:rPr>
              <a:t>April 25, 2025</a:t>
            </a:r>
          </a:p>
          <a:p>
            <a:endParaRPr lang="en-US" dirty="0"/>
          </a:p>
        </p:txBody>
      </p:sp>
      <p:sp>
        <p:nvSpPr>
          <p:cNvPr id="8" name="Text Placeholder 3">
            <a:extLst>
              <a:ext uri="{FF2B5EF4-FFF2-40B4-BE49-F238E27FC236}">
                <a16:creationId xmlns:a16="http://schemas.microsoft.com/office/drawing/2014/main" id="{72DC604C-2FA4-4AC9-8260-F6C423B364BF}"/>
              </a:ext>
            </a:extLst>
          </p:cNvPr>
          <p:cNvSpPr txBox="1">
            <a:spLocks/>
          </p:cNvSpPr>
          <p:nvPr/>
        </p:nvSpPr>
        <p:spPr>
          <a:xfrm>
            <a:off x="3243166" y="4775002"/>
            <a:ext cx="5705669" cy="1828800"/>
          </a:xfrm>
          <a:prstGeom prst="rect">
            <a:avLst/>
          </a:prstGeom>
        </p:spPr>
        <p:txBody>
          <a:bodyPr/>
          <a:lstStyle>
            <a:lvl1pPr marL="0" indent="0" algn="ctr" defTabSz="914400" rtl="0" eaLnBrk="1" latinLnBrk="0" hangingPunct="1">
              <a:lnSpc>
                <a:spcPct val="100000"/>
              </a:lnSpc>
              <a:spcBef>
                <a:spcPts val="300"/>
              </a:spcBef>
              <a:buFont typeface="Arial" panose="020B0604020202020204" pitchFamily="34" charset="0"/>
              <a:buNone/>
              <a:defRPr sz="1400" kern="12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defTabSz="914400" rtl="0" eaLnBrk="1" latinLnBrk="0" hangingPunct="1">
              <a:lnSpc>
                <a:spcPct val="100000"/>
              </a:lnSpc>
              <a:spcBef>
                <a:spcPts val="300"/>
              </a:spcBef>
              <a:buFont typeface="Arial" panose="020B0604020202020204" pitchFamily="34" charset="0"/>
              <a:buNone/>
              <a:defRPr sz="1400" kern="12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defTabSz="914400" rtl="0" eaLnBrk="1" latinLnBrk="0" hangingPunct="1">
              <a:lnSpc>
                <a:spcPct val="100000"/>
              </a:lnSpc>
              <a:spcBef>
                <a:spcPts val="300"/>
              </a:spcBef>
              <a:buFont typeface="Arial" panose="020B0604020202020204" pitchFamily="34" charset="0"/>
              <a:buNone/>
              <a:defRPr sz="1400" kern="12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defTabSz="914400" rtl="0" eaLnBrk="1" latinLnBrk="0" hangingPunct="1">
              <a:lnSpc>
                <a:spcPct val="100000"/>
              </a:lnSpc>
              <a:spcBef>
                <a:spcPts val="300"/>
              </a:spcBef>
              <a:buFont typeface="Arial" panose="020B0604020202020204" pitchFamily="34" charset="0"/>
              <a:buNone/>
              <a:defRPr sz="1400" kern="12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defTabSz="914400" rtl="0" eaLnBrk="1" latinLnBrk="0" hangingPunct="1">
              <a:lnSpc>
                <a:spcPct val="100000"/>
              </a:lnSpc>
              <a:spcBef>
                <a:spcPts val="300"/>
              </a:spcBef>
              <a:buFont typeface="Arial" panose="020B0604020202020204" pitchFamily="34" charset="0"/>
              <a:buNone/>
              <a:defRPr sz="1400" kern="12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all"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att White</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30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IGP</a:t>
            </a: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30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IPP</a:t>
            </a: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US, CIPP/E, </a:t>
            </a:r>
            <a:r>
              <a:rPr kumimoji="0" lang="en-US" sz="1200" b="0" i="0" u="none" strike="noStrike" kern="1200" cap="none" spc="30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IPT</a:t>
            </a: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30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IPM</a:t>
            </a: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30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CIP</a:t>
            </a:r>
            <a:endPar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SHAREHOLDER, BAKER DONELSON</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EMPHIS, TN</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901.577.8182</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white@bakerdonelson.com</a:t>
            </a:r>
          </a:p>
        </p:txBody>
      </p:sp>
      <p:pic>
        <p:nvPicPr>
          <p:cNvPr id="4" name="Picture 3">
            <a:extLst>
              <a:ext uri="{FF2B5EF4-FFF2-40B4-BE49-F238E27FC236}">
                <a16:creationId xmlns:a16="http://schemas.microsoft.com/office/drawing/2014/main" id="{A73D6B0E-A05C-A7CD-EB19-CB8192D815BB}"/>
              </a:ext>
            </a:extLst>
          </p:cNvPr>
          <p:cNvPicPr>
            <a:picLocks noChangeAspect="1"/>
          </p:cNvPicPr>
          <p:nvPr/>
        </p:nvPicPr>
        <p:blipFill>
          <a:blip r:embed="rId3"/>
          <a:stretch>
            <a:fillRect/>
          </a:stretch>
        </p:blipFill>
        <p:spPr>
          <a:xfrm>
            <a:off x="5410200" y="3308633"/>
            <a:ext cx="1371600" cy="1371600"/>
          </a:xfrm>
          <a:prstGeom prst="ellipse">
            <a:avLst/>
          </a:prstGeom>
        </p:spPr>
      </p:pic>
    </p:spTree>
    <p:extLst>
      <p:ext uri="{BB962C8B-B14F-4D97-AF65-F5344CB8AC3E}">
        <p14:creationId xmlns:p14="http://schemas.microsoft.com/office/powerpoint/2010/main" val="2733097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A88241-8FB8-9B44-F197-C064F01F9500}"/>
              </a:ext>
            </a:extLst>
          </p:cNvPr>
          <p:cNvSpPr>
            <a:spLocks noGrp="1"/>
          </p:cNvSpPr>
          <p:nvPr>
            <p:ph type="body" sz="quarter" idx="18"/>
          </p:nvPr>
        </p:nvSpPr>
        <p:spPr/>
        <p:txBody>
          <a:bodyPr/>
          <a:lstStyle/>
          <a:p>
            <a:r>
              <a:rPr lang="en-US" dirty="0"/>
              <a:t>There are various fields and subsets within Machine Learning.</a:t>
            </a:r>
          </a:p>
          <a:p>
            <a:r>
              <a:rPr lang="en-US" b="1" dirty="0">
                <a:solidFill>
                  <a:srgbClr val="7030A0"/>
                </a:solidFill>
              </a:rPr>
              <a:t>Natural Language Processing (NLP): </a:t>
            </a:r>
            <a:r>
              <a:rPr lang="en-US" dirty="0"/>
              <a:t>Machines learn to understand language as spoken/written by humans</a:t>
            </a:r>
          </a:p>
          <a:p>
            <a:pPr lvl="1"/>
            <a:r>
              <a:rPr lang="en-US" dirty="0"/>
              <a:t>Chatbots, Siri, etc.</a:t>
            </a:r>
          </a:p>
          <a:p>
            <a:pPr lvl="1"/>
            <a:endParaRPr lang="en-US" dirty="0"/>
          </a:p>
          <a:p>
            <a:r>
              <a:rPr lang="en-US" b="1" dirty="0">
                <a:solidFill>
                  <a:srgbClr val="7030A0"/>
                </a:solidFill>
              </a:rPr>
              <a:t>Deep Learning/Deep Neural Networks: </a:t>
            </a:r>
            <a:r>
              <a:rPr lang="en-US" dirty="0"/>
              <a:t>Neural network with many layers that can process extensive amounts of data and evaluate the weight</a:t>
            </a:r>
          </a:p>
          <a:p>
            <a:pPr lvl="1"/>
            <a:r>
              <a:rPr lang="en-US" dirty="0"/>
              <a:t>The more layers, the more complex it can process</a:t>
            </a:r>
          </a:p>
          <a:p>
            <a:pPr lvl="1"/>
            <a:r>
              <a:rPr lang="en-US" dirty="0"/>
              <a:t>Requires a lot of computing power</a:t>
            </a:r>
          </a:p>
        </p:txBody>
      </p:sp>
      <p:sp>
        <p:nvSpPr>
          <p:cNvPr id="4" name="Text Placeholder 3">
            <a:extLst>
              <a:ext uri="{FF2B5EF4-FFF2-40B4-BE49-F238E27FC236}">
                <a16:creationId xmlns:a16="http://schemas.microsoft.com/office/drawing/2014/main" id="{927E4FBF-00C6-5E11-5023-69F697A68724}"/>
              </a:ext>
            </a:extLst>
          </p:cNvPr>
          <p:cNvSpPr>
            <a:spLocks noGrp="1"/>
          </p:cNvSpPr>
          <p:nvPr>
            <p:ph type="body" sz="quarter" idx="15"/>
          </p:nvPr>
        </p:nvSpPr>
        <p:spPr/>
        <p:txBody>
          <a:bodyPr/>
          <a:lstStyle/>
          <a:p>
            <a:r>
              <a:rPr lang="en-US" dirty="0"/>
              <a:t>ARTIFICIAL INTELLIGENCE</a:t>
            </a:r>
          </a:p>
        </p:txBody>
      </p:sp>
      <p:sp>
        <p:nvSpPr>
          <p:cNvPr id="8" name="Oval 7">
            <a:extLst>
              <a:ext uri="{FF2B5EF4-FFF2-40B4-BE49-F238E27FC236}">
                <a16:creationId xmlns:a16="http://schemas.microsoft.com/office/drawing/2014/main" id="{E173BB45-7E1E-E35F-8B3F-2DA9D73BF334}"/>
              </a:ext>
            </a:extLst>
          </p:cNvPr>
          <p:cNvSpPr/>
          <p:nvPr/>
        </p:nvSpPr>
        <p:spPr>
          <a:xfrm>
            <a:off x="399548" y="944080"/>
            <a:ext cx="5187491" cy="518749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0CFC9CB3-4A26-E79B-C799-11FEE5941539}"/>
              </a:ext>
            </a:extLst>
          </p:cNvPr>
          <p:cNvSpPr/>
          <p:nvPr/>
        </p:nvSpPr>
        <p:spPr>
          <a:xfrm>
            <a:off x="956561" y="2058107"/>
            <a:ext cx="4073464" cy="4073464"/>
          </a:xfrm>
          <a:prstGeom prst="ellipse">
            <a:avLst/>
          </a:prstGeom>
          <a:solidFill>
            <a:srgbClr val="002060"/>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E2AC429E-A053-114E-A59C-069DC8107AA5}"/>
              </a:ext>
            </a:extLst>
          </p:cNvPr>
          <p:cNvSpPr/>
          <p:nvPr/>
        </p:nvSpPr>
        <p:spPr>
          <a:xfrm>
            <a:off x="1449328" y="3043640"/>
            <a:ext cx="3087931" cy="3087931"/>
          </a:xfrm>
          <a:prstGeom prst="ellipse">
            <a:avLst/>
          </a:prstGeom>
          <a:solidFill>
            <a:srgbClr val="7030A0"/>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02E49072-307B-DA08-A25D-7433845CEACD}"/>
              </a:ext>
            </a:extLst>
          </p:cNvPr>
          <p:cNvSpPr txBox="1"/>
          <p:nvPr/>
        </p:nvSpPr>
        <p:spPr>
          <a:xfrm>
            <a:off x="1780403" y="1233450"/>
            <a:ext cx="2411158"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Artificial </a:t>
            </a:r>
            <a:br>
              <a:rPr kumimoji="0" lang="en-US" b="0" i="0" u="none" strike="noStrike" kern="1200" cap="none" spc="0" normalizeH="0" baseline="0" noProof="0" dirty="0">
                <a:ln>
                  <a:noFill/>
                </a:ln>
                <a:solidFill>
                  <a:srgbClr val="FFFFFF"/>
                </a:solidFill>
                <a:effectLst/>
                <a:uLnTx/>
                <a:uFillTx/>
                <a:ea typeface="+mn-ea"/>
                <a:cs typeface="+mn-cs"/>
              </a:rPr>
            </a:br>
            <a:r>
              <a:rPr kumimoji="0" lang="en-US" b="0" i="0" u="none" strike="noStrike" kern="1200" cap="none" spc="0" normalizeH="0" baseline="0" noProof="0" dirty="0">
                <a:ln>
                  <a:noFill/>
                </a:ln>
                <a:solidFill>
                  <a:srgbClr val="FFFFFF"/>
                </a:solidFill>
                <a:effectLst/>
                <a:uLnTx/>
                <a:uFillTx/>
                <a:ea typeface="+mn-ea"/>
                <a:cs typeface="+mn-cs"/>
              </a:rPr>
              <a:t>Intelligence</a:t>
            </a:r>
          </a:p>
        </p:txBody>
      </p:sp>
      <p:sp>
        <p:nvSpPr>
          <p:cNvPr id="12" name="TextBox 11">
            <a:extLst>
              <a:ext uri="{FF2B5EF4-FFF2-40B4-BE49-F238E27FC236}">
                <a16:creationId xmlns:a16="http://schemas.microsoft.com/office/drawing/2014/main" id="{C9BC6027-0CE8-82FE-AD07-07EA2A5983CE}"/>
              </a:ext>
            </a:extLst>
          </p:cNvPr>
          <p:cNvSpPr txBox="1"/>
          <p:nvPr/>
        </p:nvSpPr>
        <p:spPr>
          <a:xfrm>
            <a:off x="1780403" y="2273674"/>
            <a:ext cx="2411158"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Machine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Learning</a:t>
            </a:r>
          </a:p>
        </p:txBody>
      </p:sp>
      <p:sp>
        <p:nvSpPr>
          <p:cNvPr id="13" name="TextBox 12">
            <a:extLst>
              <a:ext uri="{FF2B5EF4-FFF2-40B4-BE49-F238E27FC236}">
                <a16:creationId xmlns:a16="http://schemas.microsoft.com/office/drawing/2014/main" id="{22ACF7F7-8EB2-EA93-39FD-3A34F5CD1B0F}"/>
              </a:ext>
            </a:extLst>
          </p:cNvPr>
          <p:cNvSpPr txBox="1"/>
          <p:nvPr/>
        </p:nvSpPr>
        <p:spPr>
          <a:xfrm>
            <a:off x="1780403" y="3094885"/>
            <a:ext cx="2411158" cy="92333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Deep</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Learning/Neural Networks</a:t>
            </a:r>
          </a:p>
        </p:txBody>
      </p:sp>
    </p:spTree>
    <p:extLst>
      <p:ext uri="{BB962C8B-B14F-4D97-AF65-F5344CB8AC3E}">
        <p14:creationId xmlns:p14="http://schemas.microsoft.com/office/powerpoint/2010/main" val="16312082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A88241-8FB8-9B44-F197-C064F01F9500}"/>
              </a:ext>
            </a:extLst>
          </p:cNvPr>
          <p:cNvSpPr>
            <a:spLocks noGrp="1"/>
          </p:cNvSpPr>
          <p:nvPr>
            <p:ph type="body" sz="quarter" idx="18"/>
          </p:nvPr>
        </p:nvSpPr>
        <p:spPr/>
        <p:txBody>
          <a:bodyPr/>
          <a:lstStyle/>
          <a:p>
            <a:r>
              <a:rPr lang="en-US" b="1" dirty="0">
                <a:solidFill>
                  <a:schemeClr val="accent6"/>
                </a:solidFill>
              </a:rPr>
              <a:t>Generative AI: </a:t>
            </a:r>
            <a:r>
              <a:rPr lang="en-US" dirty="0"/>
              <a:t>Type of deep learning that uses algorithms to generate text, images, and other content based on the data on which it was trained</a:t>
            </a:r>
          </a:p>
          <a:p>
            <a:pPr lvl="1"/>
            <a:r>
              <a:rPr lang="en-US" dirty="0"/>
              <a:t>Forms of output varies: text, images, audio, video, 3D objects, etc.</a:t>
            </a:r>
          </a:p>
          <a:p>
            <a:pPr lvl="1"/>
            <a:endParaRPr lang="en-US" dirty="0"/>
          </a:p>
          <a:p>
            <a:r>
              <a:rPr lang="en-US" dirty="0"/>
              <a:t>Large Language Models (LLMs): Massive neural networks (deep learning) that are trained using large amounts of data.  </a:t>
            </a:r>
          </a:p>
        </p:txBody>
      </p:sp>
      <p:sp>
        <p:nvSpPr>
          <p:cNvPr id="4" name="Text Placeholder 3">
            <a:extLst>
              <a:ext uri="{FF2B5EF4-FFF2-40B4-BE49-F238E27FC236}">
                <a16:creationId xmlns:a16="http://schemas.microsoft.com/office/drawing/2014/main" id="{927E4FBF-00C6-5E11-5023-69F697A68724}"/>
              </a:ext>
            </a:extLst>
          </p:cNvPr>
          <p:cNvSpPr>
            <a:spLocks noGrp="1"/>
          </p:cNvSpPr>
          <p:nvPr>
            <p:ph type="body" sz="quarter" idx="15"/>
          </p:nvPr>
        </p:nvSpPr>
        <p:spPr/>
        <p:txBody>
          <a:bodyPr/>
          <a:lstStyle/>
          <a:p>
            <a:r>
              <a:rPr lang="en-US" dirty="0"/>
              <a:t>ARTIFICIAL INTELLIGENCE</a:t>
            </a:r>
          </a:p>
        </p:txBody>
      </p:sp>
      <p:sp>
        <p:nvSpPr>
          <p:cNvPr id="2" name="Oval 1">
            <a:extLst>
              <a:ext uri="{FF2B5EF4-FFF2-40B4-BE49-F238E27FC236}">
                <a16:creationId xmlns:a16="http://schemas.microsoft.com/office/drawing/2014/main" id="{86E95FF0-2C76-4E4A-AFF5-721C4E620C1E}"/>
              </a:ext>
            </a:extLst>
          </p:cNvPr>
          <p:cNvSpPr/>
          <p:nvPr/>
        </p:nvSpPr>
        <p:spPr>
          <a:xfrm>
            <a:off x="390331" y="944080"/>
            <a:ext cx="5187491" cy="518749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05FEF86D-4BF7-C2DF-DD01-31DA46F1B53B}"/>
              </a:ext>
            </a:extLst>
          </p:cNvPr>
          <p:cNvSpPr/>
          <p:nvPr/>
        </p:nvSpPr>
        <p:spPr>
          <a:xfrm>
            <a:off x="947344" y="2058107"/>
            <a:ext cx="4073464" cy="4073464"/>
          </a:xfrm>
          <a:prstGeom prst="ellipse">
            <a:avLst/>
          </a:prstGeom>
          <a:solidFill>
            <a:srgbClr val="002060"/>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2C04CF44-EFEC-8BA6-9997-0344DBEA2F9F}"/>
              </a:ext>
            </a:extLst>
          </p:cNvPr>
          <p:cNvSpPr/>
          <p:nvPr/>
        </p:nvSpPr>
        <p:spPr>
          <a:xfrm>
            <a:off x="1440111" y="3043640"/>
            <a:ext cx="3087931" cy="3087931"/>
          </a:xfrm>
          <a:prstGeom prst="ellipse">
            <a:avLst/>
          </a:prstGeom>
          <a:solidFill>
            <a:srgbClr val="7030A0"/>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8713CAE2-192E-C8CD-6E2E-CBB3A6DA5BC7}"/>
              </a:ext>
            </a:extLst>
          </p:cNvPr>
          <p:cNvSpPr/>
          <p:nvPr/>
        </p:nvSpPr>
        <p:spPr>
          <a:xfrm>
            <a:off x="1927008" y="4017434"/>
            <a:ext cx="2114137" cy="2114137"/>
          </a:xfrm>
          <a:prstGeom prst="ellipse">
            <a:avLst/>
          </a:prstGeom>
          <a:solidFill>
            <a:schemeClr val="accent6"/>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694E6771-EBB0-5E5A-83D6-D96991DFCED9}"/>
              </a:ext>
            </a:extLst>
          </p:cNvPr>
          <p:cNvSpPr txBox="1"/>
          <p:nvPr/>
        </p:nvSpPr>
        <p:spPr>
          <a:xfrm>
            <a:off x="1771186" y="1233450"/>
            <a:ext cx="2411158"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Artificial </a:t>
            </a:r>
            <a:br>
              <a:rPr kumimoji="0" lang="en-US" b="0" i="0" u="none" strike="noStrike" kern="1200" cap="none" spc="0" normalizeH="0" baseline="0" noProof="0" dirty="0">
                <a:ln>
                  <a:noFill/>
                </a:ln>
                <a:solidFill>
                  <a:srgbClr val="FFFFFF"/>
                </a:solidFill>
                <a:effectLst/>
                <a:uLnTx/>
                <a:uFillTx/>
                <a:ea typeface="+mn-ea"/>
                <a:cs typeface="+mn-cs"/>
              </a:rPr>
            </a:br>
            <a:r>
              <a:rPr kumimoji="0" lang="en-US" b="0" i="0" u="none" strike="noStrike" kern="1200" cap="none" spc="0" normalizeH="0" baseline="0" noProof="0" dirty="0">
                <a:ln>
                  <a:noFill/>
                </a:ln>
                <a:solidFill>
                  <a:srgbClr val="FFFFFF"/>
                </a:solidFill>
                <a:effectLst/>
                <a:uLnTx/>
                <a:uFillTx/>
                <a:ea typeface="+mn-ea"/>
                <a:cs typeface="+mn-cs"/>
              </a:rPr>
              <a:t>Intelligence</a:t>
            </a:r>
          </a:p>
        </p:txBody>
      </p:sp>
      <p:sp>
        <p:nvSpPr>
          <p:cNvPr id="15" name="TextBox 14">
            <a:extLst>
              <a:ext uri="{FF2B5EF4-FFF2-40B4-BE49-F238E27FC236}">
                <a16:creationId xmlns:a16="http://schemas.microsoft.com/office/drawing/2014/main" id="{97311C71-5702-0995-D65F-D8BD5F37B517}"/>
              </a:ext>
            </a:extLst>
          </p:cNvPr>
          <p:cNvSpPr txBox="1"/>
          <p:nvPr/>
        </p:nvSpPr>
        <p:spPr>
          <a:xfrm>
            <a:off x="1771186" y="2273674"/>
            <a:ext cx="2411158"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Machine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Learning</a:t>
            </a:r>
          </a:p>
        </p:txBody>
      </p:sp>
      <p:sp>
        <p:nvSpPr>
          <p:cNvPr id="16" name="TextBox 15">
            <a:extLst>
              <a:ext uri="{FF2B5EF4-FFF2-40B4-BE49-F238E27FC236}">
                <a16:creationId xmlns:a16="http://schemas.microsoft.com/office/drawing/2014/main" id="{15A8BCDB-20C1-7D32-BCF4-63BB0774FB1A}"/>
              </a:ext>
            </a:extLst>
          </p:cNvPr>
          <p:cNvSpPr txBox="1"/>
          <p:nvPr/>
        </p:nvSpPr>
        <p:spPr>
          <a:xfrm>
            <a:off x="1771186" y="3094885"/>
            <a:ext cx="2411158" cy="92333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Deep</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Learning/Neural Networks</a:t>
            </a:r>
          </a:p>
        </p:txBody>
      </p:sp>
      <p:sp>
        <p:nvSpPr>
          <p:cNvPr id="17" name="TextBox 16">
            <a:extLst>
              <a:ext uri="{FF2B5EF4-FFF2-40B4-BE49-F238E27FC236}">
                <a16:creationId xmlns:a16="http://schemas.microsoft.com/office/drawing/2014/main" id="{70A28D5A-4E5C-A6D1-6104-065666428E62}"/>
              </a:ext>
            </a:extLst>
          </p:cNvPr>
          <p:cNvSpPr txBox="1"/>
          <p:nvPr/>
        </p:nvSpPr>
        <p:spPr>
          <a:xfrm>
            <a:off x="2043364" y="4588170"/>
            <a:ext cx="1866802" cy="92333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Generative AI + Large Language Models (LLMs)</a:t>
            </a:r>
          </a:p>
        </p:txBody>
      </p:sp>
    </p:spTree>
    <p:extLst>
      <p:ext uri="{BB962C8B-B14F-4D97-AF65-F5344CB8AC3E}">
        <p14:creationId xmlns:p14="http://schemas.microsoft.com/office/powerpoint/2010/main" val="1014603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4DDB7F-FF47-130F-AE7E-01742AD0EF3B}"/>
              </a:ext>
            </a:extLst>
          </p:cNvPr>
          <p:cNvSpPr>
            <a:spLocks noGrp="1"/>
          </p:cNvSpPr>
          <p:nvPr>
            <p:ph type="body" sz="quarter" idx="12"/>
          </p:nvPr>
        </p:nvSpPr>
        <p:spPr/>
        <p:txBody>
          <a:bodyPr/>
          <a:lstStyle/>
          <a:p>
            <a:r>
              <a:rPr lang="en-US" dirty="0"/>
              <a:t>Prompt Engineering</a:t>
            </a:r>
          </a:p>
        </p:txBody>
      </p:sp>
    </p:spTree>
    <p:extLst>
      <p:ext uri="{BB962C8B-B14F-4D97-AF65-F5344CB8AC3E}">
        <p14:creationId xmlns:p14="http://schemas.microsoft.com/office/powerpoint/2010/main" val="2605409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581941C-E60F-E75F-3990-A6B79056F3E4}"/>
              </a:ext>
            </a:extLst>
          </p:cNvPr>
          <p:cNvSpPr txBox="1"/>
          <p:nvPr/>
        </p:nvSpPr>
        <p:spPr>
          <a:xfrm>
            <a:off x="1519767" y="1032219"/>
            <a:ext cx="9152466" cy="4893647"/>
          </a:xfrm>
          <a:prstGeom prst="rect">
            <a:avLst/>
          </a:prstGeom>
          <a:noFill/>
        </p:spPr>
        <p:txBody>
          <a:bodyPr wrap="square">
            <a:spAutoFit/>
          </a:bodyPr>
          <a:lstStyle/>
          <a:p>
            <a:pPr algn="l"/>
            <a:r>
              <a:rPr lang="en-US" sz="2400" b="0" i="0" dirty="0">
                <a:solidFill>
                  <a:schemeClr val="accent5"/>
                </a:solidFill>
                <a:effectLst/>
                <a:latin typeface="Knowledge2017"/>
              </a:rPr>
              <a:t>Prompts are questions, instructions, or requests that you input into </a:t>
            </a:r>
            <a:r>
              <a:rPr lang="en-US" sz="2400" dirty="0">
                <a:solidFill>
                  <a:schemeClr val="accent5"/>
                </a:solidFill>
                <a:latin typeface="Knowledge2017"/>
              </a:rPr>
              <a:t>an </a:t>
            </a:r>
            <a:r>
              <a:rPr lang="en-US" sz="2400" b="0" i="0" dirty="0">
                <a:solidFill>
                  <a:schemeClr val="accent5"/>
                </a:solidFill>
                <a:effectLst/>
                <a:latin typeface="Knowledge2017"/>
              </a:rPr>
              <a:t>AI tool to start the process. </a:t>
            </a:r>
          </a:p>
          <a:p>
            <a:pPr algn="l"/>
            <a:endParaRPr lang="en-US" sz="2400" dirty="0">
              <a:solidFill>
                <a:schemeClr val="accent5"/>
              </a:solidFill>
              <a:latin typeface="Knowledge2017"/>
            </a:endParaRPr>
          </a:p>
          <a:p>
            <a:r>
              <a:rPr lang="en-US" sz="2400" b="0" i="0" dirty="0">
                <a:solidFill>
                  <a:schemeClr val="accent5"/>
                </a:solidFill>
                <a:effectLst/>
                <a:latin typeface="Epilogue"/>
              </a:rPr>
              <a:t>You can improve AI output by including the right information and avoiding common pitfalls in your requests.</a:t>
            </a:r>
          </a:p>
          <a:p>
            <a:endParaRPr lang="en-US" sz="2400" dirty="0">
              <a:solidFill>
                <a:schemeClr val="accent5"/>
              </a:solidFill>
              <a:latin typeface="Epilogue"/>
            </a:endParaRPr>
          </a:p>
          <a:p>
            <a:r>
              <a:rPr lang="en-US" sz="2400" b="0" i="0" dirty="0">
                <a:solidFill>
                  <a:schemeClr val="accent5"/>
                </a:solidFill>
                <a:effectLst/>
                <a:latin typeface="Epilogue"/>
              </a:rPr>
              <a:t>Basics:  </a:t>
            </a:r>
            <a:r>
              <a:rPr lang="en-US" sz="2400" b="0" i="0" dirty="0">
                <a:solidFill>
                  <a:schemeClr val="accent1"/>
                </a:solidFill>
                <a:effectLst/>
                <a:latin typeface="Epilogue"/>
              </a:rPr>
              <a:t>Intent + Context + Instruction</a:t>
            </a:r>
          </a:p>
          <a:p>
            <a:pPr algn="l"/>
            <a:endParaRPr lang="en-US" sz="2400" b="0" i="0" dirty="0">
              <a:solidFill>
                <a:schemeClr val="accent5"/>
              </a:solidFill>
              <a:effectLst/>
              <a:latin typeface="Knowledge2017"/>
            </a:endParaRPr>
          </a:p>
          <a:p>
            <a:pPr algn="l"/>
            <a:r>
              <a:rPr lang="en-US" sz="2400" i="1" dirty="0">
                <a:solidFill>
                  <a:schemeClr val="accent5"/>
                </a:solidFill>
                <a:latin typeface="Knowledge2017"/>
              </a:rPr>
              <a:t>TIP:  </a:t>
            </a:r>
            <a:r>
              <a:rPr lang="en-US" sz="2400" dirty="0">
                <a:solidFill>
                  <a:schemeClr val="accent5"/>
                </a:solidFill>
                <a:latin typeface="Knowledge2017"/>
              </a:rPr>
              <a:t>Treat AI like a beginner lawyer – </a:t>
            </a:r>
          </a:p>
          <a:p>
            <a:pPr algn="l"/>
            <a:r>
              <a:rPr lang="en-US" sz="2400" b="0" i="0" dirty="0">
                <a:solidFill>
                  <a:schemeClr val="accent5"/>
                </a:solidFill>
                <a:effectLst/>
                <a:latin typeface="Knowledge2017"/>
              </a:rPr>
              <a:t>	You must brief it, give additional information, ask clarifying 	questions, and review (and likely fix) the work product. </a:t>
            </a:r>
          </a:p>
          <a:p>
            <a:pPr algn="l"/>
            <a:endParaRPr lang="en-US" sz="2400" dirty="0">
              <a:solidFill>
                <a:srgbClr val="666666"/>
              </a:solidFill>
              <a:latin typeface="Knowledge2017"/>
            </a:endParaRPr>
          </a:p>
          <a:p>
            <a:pPr algn="l"/>
            <a:endParaRPr lang="en-US" sz="2400" b="0" i="0" dirty="0">
              <a:solidFill>
                <a:schemeClr val="accent5"/>
              </a:solidFill>
              <a:effectLst/>
              <a:latin typeface="Knowledge2017"/>
            </a:endParaRPr>
          </a:p>
        </p:txBody>
      </p:sp>
      <p:pic>
        <p:nvPicPr>
          <p:cNvPr id="6" name="Graphic 5" descr="Illustrator outline">
            <a:extLst>
              <a:ext uri="{FF2B5EF4-FFF2-40B4-BE49-F238E27FC236}">
                <a16:creationId xmlns:a16="http://schemas.microsoft.com/office/drawing/2014/main" id="{C894B000-92D1-FC49-8E03-E9CAAE2323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4617" y="957504"/>
            <a:ext cx="914400" cy="914400"/>
          </a:xfrm>
          <a:prstGeom prst="rect">
            <a:avLst/>
          </a:prstGeom>
        </p:spPr>
      </p:pic>
      <p:pic>
        <p:nvPicPr>
          <p:cNvPr id="8" name="Graphic 7" descr="Thumbs up sign outline">
            <a:extLst>
              <a:ext uri="{FF2B5EF4-FFF2-40B4-BE49-F238E27FC236}">
                <a16:creationId xmlns:a16="http://schemas.microsoft.com/office/drawing/2014/main" id="{AC1AFF14-6218-85F1-E11F-DE72FF9B68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9992" y="2057400"/>
            <a:ext cx="914400" cy="914400"/>
          </a:xfrm>
          <a:prstGeom prst="rect">
            <a:avLst/>
          </a:prstGeom>
        </p:spPr>
      </p:pic>
      <p:pic>
        <p:nvPicPr>
          <p:cNvPr id="10" name="Graphic 9" descr="Artificial Intelligence outline">
            <a:extLst>
              <a:ext uri="{FF2B5EF4-FFF2-40B4-BE49-F238E27FC236}">
                <a16:creationId xmlns:a16="http://schemas.microsoft.com/office/drawing/2014/main" id="{DFB32711-691D-61CA-3C34-F32170D6CD9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39991" y="3082581"/>
            <a:ext cx="914400" cy="914400"/>
          </a:xfrm>
          <a:prstGeom prst="rect">
            <a:avLst/>
          </a:prstGeom>
        </p:spPr>
      </p:pic>
      <p:pic>
        <p:nvPicPr>
          <p:cNvPr id="12" name="Graphic 11" descr="Man with kid outline">
            <a:extLst>
              <a:ext uri="{FF2B5EF4-FFF2-40B4-BE49-F238E27FC236}">
                <a16:creationId xmlns:a16="http://schemas.microsoft.com/office/drawing/2014/main" id="{6B06AFF1-46F8-2A46-C924-758E9B56FED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5367" y="4240282"/>
            <a:ext cx="914400" cy="914400"/>
          </a:xfrm>
          <a:prstGeom prst="rect">
            <a:avLst/>
          </a:prstGeom>
        </p:spPr>
      </p:pic>
    </p:spTree>
    <p:extLst>
      <p:ext uri="{BB962C8B-B14F-4D97-AF65-F5344CB8AC3E}">
        <p14:creationId xmlns:p14="http://schemas.microsoft.com/office/powerpoint/2010/main" val="38159808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40FC1F-FC63-D335-D350-8CA492153CE4}"/>
              </a:ext>
            </a:extLst>
          </p:cNvPr>
          <p:cNvSpPr>
            <a:spLocks noGrp="1"/>
          </p:cNvSpPr>
          <p:nvPr>
            <p:ph type="body" sz="quarter" idx="10"/>
          </p:nvPr>
        </p:nvSpPr>
        <p:spPr>
          <a:xfrm>
            <a:off x="301650" y="2574925"/>
            <a:ext cx="3200400" cy="854075"/>
          </a:xfrm>
        </p:spPr>
        <p:txBody>
          <a:bodyPr/>
          <a:lstStyle/>
          <a:p>
            <a:r>
              <a:rPr lang="en-US" sz="3200" dirty="0"/>
              <a:t>Tips for drafting good prompts: </a:t>
            </a:r>
          </a:p>
        </p:txBody>
      </p:sp>
      <p:sp>
        <p:nvSpPr>
          <p:cNvPr id="3" name="TextBox 2">
            <a:extLst>
              <a:ext uri="{FF2B5EF4-FFF2-40B4-BE49-F238E27FC236}">
                <a16:creationId xmlns:a16="http://schemas.microsoft.com/office/drawing/2014/main" id="{07256BB0-B69A-04BC-AC22-C14BD0B9EA19}"/>
              </a:ext>
            </a:extLst>
          </p:cNvPr>
          <p:cNvSpPr txBox="1"/>
          <p:nvPr/>
        </p:nvSpPr>
        <p:spPr>
          <a:xfrm>
            <a:off x="4306510" y="574766"/>
            <a:ext cx="7362976" cy="5632311"/>
          </a:xfrm>
          <a:prstGeom prst="rect">
            <a:avLst/>
          </a:prstGeom>
          <a:noFill/>
        </p:spPr>
        <p:txBody>
          <a:bodyPr wrap="square">
            <a:spAutoFit/>
          </a:bodyPr>
          <a:lstStyle/>
          <a:p>
            <a:pPr algn="l">
              <a:buFont typeface="Arial" panose="020B0604020202020204" pitchFamily="34" charset="0"/>
              <a:buChar char="•"/>
            </a:pPr>
            <a:r>
              <a:rPr lang="en-US" sz="2400" b="0" i="0" dirty="0">
                <a:solidFill>
                  <a:schemeClr val="accent5"/>
                </a:solidFill>
                <a:effectLst/>
                <a:latin typeface="Knowledge2017"/>
              </a:rPr>
              <a:t> 	Ask </a:t>
            </a:r>
            <a:r>
              <a:rPr lang="en-US" sz="2400" b="0" i="0" dirty="0">
                <a:solidFill>
                  <a:schemeClr val="accent1"/>
                </a:solidFill>
                <a:effectLst/>
                <a:latin typeface="Knowledge2017"/>
              </a:rPr>
              <a:t>specific</a:t>
            </a:r>
            <a:r>
              <a:rPr lang="en-US" sz="2400" b="0" i="0" dirty="0">
                <a:solidFill>
                  <a:schemeClr val="accent5"/>
                </a:solidFill>
                <a:effectLst/>
                <a:latin typeface="Knowledge2017"/>
              </a:rPr>
              <a:t> questions. </a:t>
            </a:r>
          </a:p>
          <a:p>
            <a:pPr algn="l">
              <a:buFont typeface="Arial" panose="020B0604020202020204" pitchFamily="34" charset="0"/>
              <a:buChar char="•"/>
            </a:pPr>
            <a:r>
              <a:rPr lang="en-US" sz="2400" b="0" i="0" dirty="0">
                <a:solidFill>
                  <a:schemeClr val="accent5"/>
                </a:solidFill>
                <a:effectLst/>
                <a:latin typeface="Knowledge2017"/>
              </a:rPr>
              <a:t> 	Be concise and use </a:t>
            </a:r>
            <a:r>
              <a:rPr lang="en-US" sz="2400" b="0" i="0" dirty="0">
                <a:solidFill>
                  <a:schemeClr val="accent1"/>
                </a:solidFill>
                <a:effectLst/>
                <a:latin typeface="Knowledge2017"/>
              </a:rPr>
              <a:t>simple</a:t>
            </a:r>
            <a:r>
              <a:rPr lang="en-US" sz="2400" b="0" i="0" dirty="0">
                <a:solidFill>
                  <a:schemeClr val="accent5"/>
                </a:solidFill>
                <a:effectLst/>
                <a:latin typeface="Knowledge2017"/>
              </a:rPr>
              <a:t> language. </a:t>
            </a:r>
            <a:endParaRPr lang="en-US" sz="2400" dirty="0">
              <a:solidFill>
                <a:schemeClr val="accent5"/>
              </a:solidFill>
              <a:latin typeface="Knowledge2017"/>
            </a:endParaRPr>
          </a:p>
          <a:p>
            <a:pPr algn="l">
              <a:buFont typeface="Arial" panose="020B0604020202020204" pitchFamily="34" charset="0"/>
              <a:buChar char="•"/>
            </a:pPr>
            <a:r>
              <a:rPr lang="en-US" sz="2400" b="0" i="0" dirty="0">
                <a:solidFill>
                  <a:schemeClr val="accent5"/>
                </a:solidFill>
                <a:effectLst/>
                <a:latin typeface="Knowledge2017"/>
              </a:rPr>
              <a:t> 	Tell the AI what </a:t>
            </a:r>
            <a:r>
              <a:rPr lang="en-US" sz="2400" b="0" i="0" dirty="0">
                <a:solidFill>
                  <a:schemeClr val="accent1"/>
                </a:solidFill>
                <a:effectLst/>
                <a:latin typeface="Knowledge2017"/>
              </a:rPr>
              <a:t>output</a:t>
            </a:r>
            <a:r>
              <a:rPr lang="en-US" sz="2400" b="0" i="0" dirty="0">
                <a:solidFill>
                  <a:schemeClr val="accent5"/>
                </a:solidFill>
                <a:effectLst/>
                <a:latin typeface="Knowledge2017"/>
              </a:rPr>
              <a:t> you want, e.g., an email, a 	summary, a presentation, bullet points, a checklist, </a:t>
            </a:r>
            <a:r>
              <a:rPr lang="en-US" sz="2400" dirty="0">
                <a:solidFill>
                  <a:schemeClr val="accent5"/>
                </a:solidFill>
                <a:latin typeface="Knowledge2017"/>
              </a:rPr>
              <a:t>	</a:t>
            </a:r>
            <a:r>
              <a:rPr lang="en-US" sz="2400" b="0" i="0" dirty="0">
                <a:solidFill>
                  <a:schemeClr val="accent5"/>
                </a:solidFill>
                <a:effectLst/>
                <a:latin typeface="Knowledge2017"/>
              </a:rPr>
              <a:t>etc. </a:t>
            </a:r>
          </a:p>
          <a:p>
            <a:pPr algn="l">
              <a:buFont typeface="Arial" panose="020B0604020202020204" pitchFamily="34" charset="0"/>
              <a:buChar char="•"/>
            </a:pPr>
            <a:r>
              <a:rPr lang="en-US" sz="2400" dirty="0">
                <a:solidFill>
                  <a:schemeClr val="accent5"/>
                </a:solidFill>
                <a:latin typeface="Knowledge2017"/>
              </a:rPr>
              <a:t> 	Tell the AI the </a:t>
            </a:r>
            <a:r>
              <a:rPr lang="en-US" sz="2400" b="0" i="0" dirty="0">
                <a:solidFill>
                  <a:schemeClr val="accent1"/>
                </a:solidFill>
                <a:effectLst/>
                <a:latin typeface="Knowledge2017"/>
              </a:rPr>
              <a:t>point of view</a:t>
            </a:r>
            <a:r>
              <a:rPr lang="en-US" sz="2400" b="0" i="0" dirty="0">
                <a:solidFill>
                  <a:schemeClr val="accent5"/>
                </a:solidFill>
                <a:effectLst/>
                <a:latin typeface="Knowledge2017"/>
              </a:rPr>
              <a:t>. For example, you are a 	lawyer, you are the CFO, you are a judge, you are a 	businessperson. Context matters. </a:t>
            </a:r>
          </a:p>
          <a:p>
            <a:pPr algn="l">
              <a:buFont typeface="Arial" panose="020B0604020202020204" pitchFamily="34" charset="0"/>
              <a:buChar char="•"/>
            </a:pPr>
            <a:r>
              <a:rPr lang="en-US" sz="2400" b="0" i="0" dirty="0">
                <a:solidFill>
                  <a:schemeClr val="accent5"/>
                </a:solidFill>
                <a:effectLst/>
                <a:latin typeface="Knowledge2017"/>
              </a:rPr>
              <a:t> 	Provide </a:t>
            </a:r>
            <a:r>
              <a:rPr lang="en-US" sz="2400" b="0" i="0" dirty="0">
                <a:solidFill>
                  <a:schemeClr val="accent1"/>
                </a:solidFill>
                <a:effectLst/>
                <a:latin typeface="Knowledge2017"/>
              </a:rPr>
              <a:t>context</a:t>
            </a:r>
            <a:r>
              <a:rPr lang="en-US" sz="2400" b="0" i="0" dirty="0">
                <a:solidFill>
                  <a:schemeClr val="accent5"/>
                </a:solidFill>
                <a:effectLst/>
                <a:latin typeface="Knowledge2017"/>
              </a:rPr>
              <a:t> - factual background, purpose, scope, 	tone, etc. </a:t>
            </a:r>
          </a:p>
          <a:p>
            <a:pPr algn="l">
              <a:buFont typeface="Arial" panose="020B0604020202020204" pitchFamily="34" charset="0"/>
              <a:buChar char="•"/>
            </a:pPr>
            <a:r>
              <a:rPr lang="en-US" sz="2400" b="0" i="0" dirty="0">
                <a:solidFill>
                  <a:schemeClr val="accent5"/>
                </a:solidFill>
                <a:effectLst/>
                <a:latin typeface="Knowledge2017"/>
              </a:rPr>
              <a:t> 	Follow-up with new prompts until you get what you 	want</a:t>
            </a:r>
            <a:r>
              <a:rPr lang="en-US" sz="2400" dirty="0">
                <a:solidFill>
                  <a:schemeClr val="accent5"/>
                </a:solidFill>
                <a:latin typeface="Knowledge2017"/>
              </a:rPr>
              <a:t>, treat like a </a:t>
            </a:r>
            <a:r>
              <a:rPr lang="en-US" sz="2400" dirty="0">
                <a:solidFill>
                  <a:schemeClr val="accent1"/>
                </a:solidFill>
                <a:latin typeface="Knowledge2017"/>
              </a:rPr>
              <a:t>dialogue</a:t>
            </a:r>
            <a:r>
              <a:rPr lang="en-US" sz="2400" dirty="0">
                <a:solidFill>
                  <a:schemeClr val="accent5"/>
                </a:solidFill>
                <a:latin typeface="Knowledge2017"/>
              </a:rPr>
              <a:t>.</a:t>
            </a:r>
          </a:p>
          <a:p>
            <a:pPr algn="l">
              <a:buFont typeface="Arial" panose="020B0604020202020204" pitchFamily="34" charset="0"/>
              <a:buChar char="•"/>
            </a:pPr>
            <a:r>
              <a:rPr lang="en-US" sz="2400" b="0" i="0" dirty="0">
                <a:solidFill>
                  <a:schemeClr val="accent5"/>
                </a:solidFill>
                <a:effectLst/>
                <a:latin typeface="Knowledge2017"/>
              </a:rPr>
              <a:t> 	Keep asking the AI to </a:t>
            </a:r>
            <a:r>
              <a:rPr lang="en-US" sz="2400" b="0" i="0" dirty="0">
                <a:solidFill>
                  <a:schemeClr val="accent1"/>
                </a:solidFill>
                <a:effectLst/>
                <a:latin typeface="Knowledge2017"/>
              </a:rPr>
              <a:t>refine</a:t>
            </a:r>
            <a:r>
              <a:rPr lang="en-US" sz="2400" b="0" i="0" dirty="0">
                <a:solidFill>
                  <a:schemeClr val="accent5"/>
                </a:solidFill>
                <a:effectLst/>
                <a:latin typeface="Knowledge2017"/>
              </a:rPr>
              <a:t> results, change results, 	create different documents with different viewpoints, 	etc.</a:t>
            </a:r>
          </a:p>
        </p:txBody>
      </p:sp>
    </p:spTree>
    <p:extLst>
      <p:ext uri="{BB962C8B-B14F-4D97-AF65-F5344CB8AC3E}">
        <p14:creationId xmlns:p14="http://schemas.microsoft.com/office/powerpoint/2010/main" val="29319996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978A91AC-5A27-8270-9D49-1815CBB7556A}"/>
              </a:ext>
            </a:extLst>
          </p:cNvPr>
          <p:cNvGraphicFramePr>
            <a:graphicFrameLocks noGrp="1"/>
          </p:cNvGraphicFramePr>
          <p:nvPr>
            <p:extLst>
              <p:ext uri="{D42A27DB-BD31-4B8C-83A1-F6EECF244321}">
                <p14:modId xmlns:p14="http://schemas.microsoft.com/office/powerpoint/2010/main" val="97787694"/>
              </p:ext>
            </p:extLst>
          </p:nvPr>
        </p:nvGraphicFramePr>
        <p:xfrm>
          <a:off x="1041400" y="1083733"/>
          <a:ext cx="10109200" cy="4119880"/>
        </p:xfrm>
        <a:graphic>
          <a:graphicData uri="http://schemas.openxmlformats.org/drawingml/2006/table">
            <a:tbl>
              <a:tblPr firstRow="1" bandRow="1">
                <a:tableStyleId>{5C22544A-7EE6-4342-B048-85BDC9FD1C3A}</a:tableStyleId>
              </a:tblPr>
              <a:tblGrid>
                <a:gridCol w="5054600">
                  <a:extLst>
                    <a:ext uri="{9D8B030D-6E8A-4147-A177-3AD203B41FA5}">
                      <a16:colId xmlns:a16="http://schemas.microsoft.com/office/drawing/2014/main" val="2603960939"/>
                    </a:ext>
                  </a:extLst>
                </a:gridCol>
                <a:gridCol w="5054600">
                  <a:extLst>
                    <a:ext uri="{9D8B030D-6E8A-4147-A177-3AD203B41FA5}">
                      <a16:colId xmlns:a16="http://schemas.microsoft.com/office/drawing/2014/main" val="1122672314"/>
                    </a:ext>
                  </a:extLst>
                </a:gridCol>
              </a:tblGrid>
              <a:tr h="370840">
                <a:tc>
                  <a:txBody>
                    <a:bodyPr/>
                    <a:lstStyle/>
                    <a:p>
                      <a:pPr algn="ctr"/>
                      <a:r>
                        <a:rPr lang="en-US" dirty="0"/>
                        <a:t>Good Prompting</a:t>
                      </a:r>
                    </a:p>
                  </a:txBody>
                  <a:tcPr/>
                </a:tc>
                <a:tc>
                  <a:txBody>
                    <a:bodyPr/>
                    <a:lstStyle/>
                    <a:p>
                      <a:pPr algn="ctr"/>
                      <a:r>
                        <a:rPr lang="en-US" dirty="0"/>
                        <a:t>Pitfalls</a:t>
                      </a:r>
                    </a:p>
                  </a:txBody>
                  <a:tcPr/>
                </a:tc>
                <a:extLst>
                  <a:ext uri="{0D108BD9-81ED-4DB2-BD59-A6C34878D82A}">
                    <a16:rowId xmlns:a16="http://schemas.microsoft.com/office/drawing/2014/main" val="890404527"/>
                  </a:ext>
                </a:extLst>
              </a:tr>
              <a:tr h="370840">
                <a:tc>
                  <a:txBody>
                    <a:bodyPr/>
                    <a:lstStyle/>
                    <a:p>
                      <a:r>
                        <a:rPr lang="en-US" dirty="0"/>
                        <a:t>Assign a Persona (Tell the AI the perspective from which you want results)</a:t>
                      </a:r>
                    </a:p>
                  </a:txBody>
                  <a:tcPr/>
                </a:tc>
                <a:tc>
                  <a:txBody>
                    <a:bodyPr/>
                    <a:lstStyle/>
                    <a:p>
                      <a:r>
                        <a:rPr lang="en-US" dirty="0"/>
                        <a:t>Too much immaterial information</a:t>
                      </a:r>
                    </a:p>
                  </a:txBody>
                  <a:tcPr/>
                </a:tc>
                <a:extLst>
                  <a:ext uri="{0D108BD9-81ED-4DB2-BD59-A6C34878D82A}">
                    <a16:rowId xmlns:a16="http://schemas.microsoft.com/office/drawing/2014/main" val="64010790"/>
                  </a:ext>
                </a:extLst>
              </a:tr>
              <a:tr h="370840">
                <a:tc>
                  <a:txBody>
                    <a:bodyPr/>
                    <a:lstStyle/>
                    <a:p>
                      <a:r>
                        <a:rPr lang="en-US" dirty="0"/>
                        <a:t>Use If / Then Instructions (If the answer is x, then you want the results like y).</a:t>
                      </a:r>
                    </a:p>
                  </a:txBody>
                  <a:tcPr/>
                </a:tc>
                <a:tc>
                  <a:txBody>
                    <a:bodyPr/>
                    <a:lstStyle/>
                    <a:p>
                      <a:r>
                        <a:rPr lang="en-US" dirty="0"/>
                        <a:t>Burying important information – Keep important information at the beginning and/or end of your prompt.</a:t>
                      </a:r>
                    </a:p>
                  </a:txBody>
                  <a:tcPr/>
                </a:tc>
                <a:extLst>
                  <a:ext uri="{0D108BD9-81ED-4DB2-BD59-A6C34878D82A}">
                    <a16:rowId xmlns:a16="http://schemas.microsoft.com/office/drawing/2014/main" val="2361514743"/>
                  </a:ext>
                </a:extLst>
              </a:tr>
              <a:tr h="370840">
                <a:tc>
                  <a:txBody>
                    <a:bodyPr/>
                    <a:lstStyle/>
                    <a:p>
                      <a:r>
                        <a:rPr lang="en-US" dirty="0"/>
                        <a:t>Reinforce your objectives (or criteria) in subsequent prompts.</a:t>
                      </a:r>
                    </a:p>
                  </a:txBody>
                  <a:tcPr/>
                </a:tc>
                <a:tc>
                  <a:txBody>
                    <a:bodyPr/>
                    <a:lstStyle/>
                    <a:p>
                      <a:r>
                        <a:rPr lang="en-US" dirty="0"/>
                        <a:t>Unnecessary repetition – Repetition signals importance to AI, don’t repeat words in your prompt if they are not important.</a:t>
                      </a:r>
                    </a:p>
                  </a:txBody>
                  <a:tcPr/>
                </a:tc>
                <a:extLst>
                  <a:ext uri="{0D108BD9-81ED-4DB2-BD59-A6C34878D82A}">
                    <a16:rowId xmlns:a16="http://schemas.microsoft.com/office/drawing/2014/main" val="127192473"/>
                  </a:ext>
                </a:extLst>
              </a:tr>
              <a:tr h="370840">
                <a:tc>
                  <a:txBody>
                    <a:bodyPr/>
                    <a:lstStyle/>
                    <a:p>
                      <a:r>
                        <a:rPr lang="en-US" dirty="0"/>
                        <a:t>Be deliberate</a:t>
                      </a:r>
                    </a:p>
                  </a:txBody>
                  <a:tcPr/>
                </a:tc>
                <a:tc>
                  <a:txBody>
                    <a:bodyPr/>
                    <a:lstStyle/>
                    <a:p>
                      <a:r>
                        <a:rPr lang="en-US" dirty="0"/>
                        <a:t>Ambiguity – Failing to specifically inform the AI what your looking for.</a:t>
                      </a:r>
                    </a:p>
                  </a:txBody>
                  <a:tcPr/>
                </a:tc>
                <a:extLst>
                  <a:ext uri="{0D108BD9-81ED-4DB2-BD59-A6C34878D82A}">
                    <a16:rowId xmlns:a16="http://schemas.microsoft.com/office/drawing/2014/main" val="954333592"/>
                  </a:ext>
                </a:extLst>
              </a:tr>
              <a:tr h="370840">
                <a:tc>
                  <a:txBody>
                    <a:bodyPr/>
                    <a:lstStyle/>
                    <a:p>
                      <a:r>
                        <a:rPr lang="en-US" dirty="0"/>
                        <a:t>The best results take multiple iterations and refinement</a:t>
                      </a:r>
                    </a:p>
                  </a:txBody>
                  <a:tcPr/>
                </a:tc>
                <a:tc>
                  <a:txBody>
                    <a:bodyPr/>
                    <a:lstStyle/>
                    <a:p>
                      <a:r>
                        <a:rPr lang="en-US" dirty="0"/>
                        <a:t>Overestimating AI’s ability</a:t>
                      </a:r>
                    </a:p>
                  </a:txBody>
                  <a:tcPr/>
                </a:tc>
                <a:extLst>
                  <a:ext uri="{0D108BD9-81ED-4DB2-BD59-A6C34878D82A}">
                    <a16:rowId xmlns:a16="http://schemas.microsoft.com/office/drawing/2014/main" val="2611047090"/>
                  </a:ext>
                </a:extLst>
              </a:tr>
            </a:tbl>
          </a:graphicData>
        </a:graphic>
      </p:graphicFrame>
    </p:spTree>
    <p:extLst>
      <p:ext uri="{BB962C8B-B14F-4D97-AF65-F5344CB8AC3E}">
        <p14:creationId xmlns:p14="http://schemas.microsoft.com/office/powerpoint/2010/main" val="1774479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4DDB7F-FF47-130F-AE7E-01742AD0EF3B}"/>
              </a:ext>
            </a:extLst>
          </p:cNvPr>
          <p:cNvSpPr>
            <a:spLocks noGrp="1"/>
          </p:cNvSpPr>
          <p:nvPr>
            <p:ph type="body" sz="quarter" idx="12"/>
          </p:nvPr>
        </p:nvSpPr>
        <p:spPr/>
        <p:txBody>
          <a:bodyPr/>
          <a:lstStyle/>
          <a:p>
            <a:r>
              <a:rPr lang="en-US" dirty="0"/>
              <a:t>Top AI Considerations</a:t>
            </a:r>
          </a:p>
        </p:txBody>
      </p:sp>
    </p:spTree>
    <p:extLst>
      <p:ext uri="{BB962C8B-B14F-4D97-AF65-F5344CB8AC3E}">
        <p14:creationId xmlns:p14="http://schemas.microsoft.com/office/powerpoint/2010/main" val="35292984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3D5CB92-0E2B-40AD-71B9-5532F2A7190B}"/>
              </a:ext>
            </a:extLst>
          </p:cNvPr>
          <p:cNvSpPr>
            <a:spLocks noGrp="1"/>
          </p:cNvSpPr>
          <p:nvPr>
            <p:ph type="body" sz="quarter" idx="15"/>
          </p:nvPr>
        </p:nvSpPr>
        <p:spPr/>
        <p:txBody>
          <a:bodyPr/>
          <a:lstStyle/>
          <a:p>
            <a:r>
              <a:rPr lang="en-US" dirty="0"/>
              <a:t>ARTIFICIAL INTELLIGENCE CONSIDERATIONS</a:t>
            </a:r>
          </a:p>
        </p:txBody>
      </p:sp>
      <p:sp>
        <p:nvSpPr>
          <p:cNvPr id="4" name="Freeform 26">
            <a:extLst>
              <a:ext uri="{FF2B5EF4-FFF2-40B4-BE49-F238E27FC236}">
                <a16:creationId xmlns:a16="http://schemas.microsoft.com/office/drawing/2014/main" id="{35274C51-0B28-8FD9-08FB-F09B23E70A6E}"/>
              </a:ext>
            </a:extLst>
          </p:cNvPr>
          <p:cNvSpPr>
            <a:spLocks noChangeArrowheads="1"/>
          </p:cNvSpPr>
          <p:nvPr/>
        </p:nvSpPr>
        <p:spPr bwMode="auto">
          <a:xfrm>
            <a:off x="3312570" y="2942415"/>
            <a:ext cx="27835" cy="583624"/>
          </a:xfrm>
          <a:custGeom>
            <a:avLst/>
            <a:gdLst>
              <a:gd name="connsiteX0" fmla="*/ 31694 w 64655"/>
              <a:gd name="connsiteY0" fmla="*/ 1214095 h 1355665"/>
              <a:gd name="connsiteX1" fmla="*/ 64655 w 64655"/>
              <a:gd name="connsiteY1" fmla="*/ 1245696 h 1355665"/>
              <a:gd name="connsiteX2" fmla="*/ 64655 w 64655"/>
              <a:gd name="connsiteY2" fmla="*/ 1322801 h 1355665"/>
              <a:gd name="connsiteX3" fmla="*/ 31694 w 64655"/>
              <a:gd name="connsiteY3" fmla="*/ 1355665 h 1355665"/>
              <a:gd name="connsiteX4" fmla="*/ 0 w 64655"/>
              <a:gd name="connsiteY4" fmla="*/ 1322801 h 1355665"/>
              <a:gd name="connsiteX5" fmla="*/ 0 w 64655"/>
              <a:gd name="connsiteY5" fmla="*/ 1245696 h 1355665"/>
              <a:gd name="connsiteX6" fmla="*/ 31694 w 64655"/>
              <a:gd name="connsiteY6" fmla="*/ 1214095 h 1355665"/>
              <a:gd name="connsiteX7" fmla="*/ 31694 w 64655"/>
              <a:gd name="connsiteY7" fmla="*/ 888615 h 1355665"/>
              <a:gd name="connsiteX8" fmla="*/ 64655 w 64655"/>
              <a:gd name="connsiteY8" fmla="*/ 919740 h 1355665"/>
              <a:gd name="connsiteX9" fmla="*/ 64655 w 64655"/>
              <a:gd name="connsiteY9" fmla="*/ 1081592 h 1355665"/>
              <a:gd name="connsiteX10" fmla="*/ 31694 w 64655"/>
              <a:gd name="connsiteY10" fmla="*/ 1113962 h 1355665"/>
              <a:gd name="connsiteX11" fmla="*/ 0 w 64655"/>
              <a:gd name="connsiteY11" fmla="*/ 1081592 h 1355665"/>
              <a:gd name="connsiteX12" fmla="*/ 0 w 64655"/>
              <a:gd name="connsiteY12" fmla="*/ 919740 h 1355665"/>
              <a:gd name="connsiteX13" fmla="*/ 31694 w 64655"/>
              <a:gd name="connsiteY13" fmla="*/ 888615 h 1355665"/>
              <a:gd name="connsiteX14" fmla="*/ 31694 w 64655"/>
              <a:gd name="connsiteY14" fmla="*/ 561177 h 1355665"/>
              <a:gd name="connsiteX15" fmla="*/ 64655 w 64655"/>
              <a:gd name="connsiteY15" fmla="*/ 593547 h 1355665"/>
              <a:gd name="connsiteX16" fmla="*/ 64655 w 64655"/>
              <a:gd name="connsiteY16" fmla="*/ 756644 h 1355665"/>
              <a:gd name="connsiteX17" fmla="*/ 31694 w 64655"/>
              <a:gd name="connsiteY17" fmla="*/ 787769 h 1355665"/>
              <a:gd name="connsiteX18" fmla="*/ 0 w 64655"/>
              <a:gd name="connsiteY18" fmla="*/ 756644 h 1355665"/>
              <a:gd name="connsiteX19" fmla="*/ 0 w 64655"/>
              <a:gd name="connsiteY19" fmla="*/ 593547 h 1355665"/>
              <a:gd name="connsiteX20" fmla="*/ 31694 w 64655"/>
              <a:gd name="connsiteY20" fmla="*/ 561177 h 1355665"/>
              <a:gd name="connsiteX21" fmla="*/ 31694 w 64655"/>
              <a:gd name="connsiteY21" fmla="*/ 236228 h 1355665"/>
              <a:gd name="connsiteX22" fmla="*/ 64655 w 64655"/>
              <a:gd name="connsiteY22" fmla="*/ 267354 h 1355665"/>
              <a:gd name="connsiteX23" fmla="*/ 64655 w 64655"/>
              <a:gd name="connsiteY23" fmla="*/ 430450 h 1355665"/>
              <a:gd name="connsiteX24" fmla="*/ 31694 w 64655"/>
              <a:gd name="connsiteY24" fmla="*/ 462821 h 1355665"/>
              <a:gd name="connsiteX25" fmla="*/ 0 w 64655"/>
              <a:gd name="connsiteY25" fmla="*/ 430450 h 1355665"/>
              <a:gd name="connsiteX26" fmla="*/ 0 w 64655"/>
              <a:gd name="connsiteY26" fmla="*/ 267354 h 1355665"/>
              <a:gd name="connsiteX27" fmla="*/ 31694 w 64655"/>
              <a:gd name="connsiteY27" fmla="*/ 236228 h 1355665"/>
              <a:gd name="connsiteX28" fmla="*/ 31694 w 64655"/>
              <a:gd name="connsiteY28" fmla="*/ 0 h 1355665"/>
              <a:gd name="connsiteX29" fmla="*/ 64655 w 64655"/>
              <a:gd name="connsiteY29" fmla="*/ 30657 h 1355665"/>
              <a:gd name="connsiteX30" fmla="*/ 64655 w 64655"/>
              <a:gd name="connsiteY30" fmla="*/ 105459 h 1355665"/>
              <a:gd name="connsiteX31" fmla="*/ 31694 w 64655"/>
              <a:gd name="connsiteY31" fmla="*/ 136116 h 1355665"/>
              <a:gd name="connsiteX32" fmla="*/ 0 w 64655"/>
              <a:gd name="connsiteY32" fmla="*/ 105459 h 1355665"/>
              <a:gd name="connsiteX33" fmla="*/ 0 w 64655"/>
              <a:gd name="connsiteY33" fmla="*/ 30657 h 1355665"/>
              <a:gd name="connsiteX34" fmla="*/ 31694 w 64655"/>
              <a:gd name="connsiteY34" fmla="*/ 0 h 135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55" h="1355665">
                <a:moveTo>
                  <a:pt x="31694" y="1214095"/>
                </a:moveTo>
                <a:cubicBezTo>
                  <a:pt x="49442" y="1214095"/>
                  <a:pt x="64655" y="1227999"/>
                  <a:pt x="64655" y="1245696"/>
                </a:cubicBezTo>
                <a:lnTo>
                  <a:pt x="64655" y="1322801"/>
                </a:lnTo>
                <a:cubicBezTo>
                  <a:pt x="64655" y="1340497"/>
                  <a:pt x="49442" y="1355665"/>
                  <a:pt x="31694" y="1355665"/>
                </a:cubicBezTo>
                <a:cubicBezTo>
                  <a:pt x="13945" y="1355665"/>
                  <a:pt x="0" y="1340497"/>
                  <a:pt x="0" y="1322801"/>
                </a:cubicBezTo>
                <a:lnTo>
                  <a:pt x="0" y="1245696"/>
                </a:lnTo>
                <a:cubicBezTo>
                  <a:pt x="0" y="1227999"/>
                  <a:pt x="13945" y="1214095"/>
                  <a:pt x="31694" y="1214095"/>
                </a:cubicBezTo>
                <a:close/>
                <a:moveTo>
                  <a:pt x="31694" y="888615"/>
                </a:moveTo>
                <a:cubicBezTo>
                  <a:pt x="49442" y="888615"/>
                  <a:pt x="64655" y="902310"/>
                  <a:pt x="64655" y="919740"/>
                </a:cubicBezTo>
                <a:lnTo>
                  <a:pt x="64655" y="1081592"/>
                </a:lnTo>
                <a:cubicBezTo>
                  <a:pt x="64655" y="1099022"/>
                  <a:pt x="49442" y="1113962"/>
                  <a:pt x="31694" y="1113962"/>
                </a:cubicBezTo>
                <a:cubicBezTo>
                  <a:pt x="13945" y="1113962"/>
                  <a:pt x="0" y="1099022"/>
                  <a:pt x="0" y="1081592"/>
                </a:cubicBezTo>
                <a:lnTo>
                  <a:pt x="0" y="919740"/>
                </a:lnTo>
                <a:cubicBezTo>
                  <a:pt x="0" y="902310"/>
                  <a:pt x="13945" y="888615"/>
                  <a:pt x="31694" y="888615"/>
                </a:cubicBezTo>
                <a:close/>
                <a:moveTo>
                  <a:pt x="31694" y="561177"/>
                </a:moveTo>
                <a:cubicBezTo>
                  <a:pt x="49442" y="561177"/>
                  <a:pt x="64655" y="576117"/>
                  <a:pt x="64655" y="593547"/>
                </a:cubicBezTo>
                <a:lnTo>
                  <a:pt x="64655" y="756644"/>
                </a:lnTo>
                <a:cubicBezTo>
                  <a:pt x="64655" y="774074"/>
                  <a:pt x="49442" y="787769"/>
                  <a:pt x="31694" y="787769"/>
                </a:cubicBezTo>
                <a:cubicBezTo>
                  <a:pt x="13945" y="787769"/>
                  <a:pt x="0" y="774074"/>
                  <a:pt x="0" y="756644"/>
                </a:cubicBezTo>
                <a:lnTo>
                  <a:pt x="0" y="593547"/>
                </a:lnTo>
                <a:cubicBezTo>
                  <a:pt x="0" y="576117"/>
                  <a:pt x="13945" y="561177"/>
                  <a:pt x="31694" y="561177"/>
                </a:cubicBezTo>
                <a:close/>
                <a:moveTo>
                  <a:pt x="31694" y="236228"/>
                </a:moveTo>
                <a:cubicBezTo>
                  <a:pt x="49442" y="236228"/>
                  <a:pt x="64655" y="249923"/>
                  <a:pt x="64655" y="267354"/>
                </a:cubicBezTo>
                <a:lnTo>
                  <a:pt x="64655" y="430450"/>
                </a:lnTo>
                <a:cubicBezTo>
                  <a:pt x="64655" y="447880"/>
                  <a:pt x="49442" y="462821"/>
                  <a:pt x="31694" y="462821"/>
                </a:cubicBezTo>
                <a:cubicBezTo>
                  <a:pt x="13945" y="462821"/>
                  <a:pt x="0" y="447880"/>
                  <a:pt x="0" y="430450"/>
                </a:cubicBezTo>
                <a:lnTo>
                  <a:pt x="0" y="267354"/>
                </a:lnTo>
                <a:cubicBezTo>
                  <a:pt x="0" y="249923"/>
                  <a:pt x="13945" y="236228"/>
                  <a:pt x="31694" y="236228"/>
                </a:cubicBezTo>
                <a:close/>
                <a:moveTo>
                  <a:pt x="31694" y="0"/>
                </a:moveTo>
                <a:cubicBezTo>
                  <a:pt x="49442" y="0"/>
                  <a:pt x="64655" y="13489"/>
                  <a:pt x="64655" y="30657"/>
                </a:cubicBezTo>
                <a:lnTo>
                  <a:pt x="64655" y="105459"/>
                </a:lnTo>
                <a:cubicBezTo>
                  <a:pt x="64655" y="122627"/>
                  <a:pt x="49442" y="136116"/>
                  <a:pt x="31694" y="136116"/>
                </a:cubicBezTo>
                <a:cubicBezTo>
                  <a:pt x="13945" y="136116"/>
                  <a:pt x="0" y="122627"/>
                  <a:pt x="0" y="105459"/>
                </a:cubicBezTo>
                <a:lnTo>
                  <a:pt x="0" y="30657"/>
                </a:lnTo>
                <a:cubicBezTo>
                  <a:pt x="0" y="13489"/>
                  <a:pt x="13945" y="0"/>
                  <a:pt x="31694" y="0"/>
                </a:cubicBezTo>
                <a:close/>
              </a:path>
            </a:pathLst>
          </a:custGeom>
          <a:solidFill>
            <a:schemeClr val="accent1"/>
          </a:solidFill>
          <a:ln>
            <a:noFill/>
          </a:ln>
          <a:effectLst/>
        </p:spPr>
        <p:txBody>
          <a:bodyPr wrap="square" anchor="ctr">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2449"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 name="Freeform 27">
            <a:extLst>
              <a:ext uri="{FF2B5EF4-FFF2-40B4-BE49-F238E27FC236}">
                <a16:creationId xmlns:a16="http://schemas.microsoft.com/office/drawing/2014/main" id="{1825B402-DF29-6D6A-52A4-5B0D6BFD6E61}"/>
              </a:ext>
            </a:extLst>
          </p:cNvPr>
          <p:cNvSpPr>
            <a:spLocks noChangeArrowheads="1"/>
          </p:cNvSpPr>
          <p:nvPr/>
        </p:nvSpPr>
        <p:spPr bwMode="auto">
          <a:xfrm>
            <a:off x="4679563" y="4240823"/>
            <a:ext cx="27835" cy="585991"/>
          </a:xfrm>
          <a:custGeom>
            <a:avLst/>
            <a:gdLst>
              <a:gd name="connsiteX0" fmla="*/ 32962 w 64655"/>
              <a:gd name="connsiteY0" fmla="*/ 1219583 h 1361164"/>
              <a:gd name="connsiteX1" fmla="*/ 64655 w 64655"/>
              <a:gd name="connsiteY1" fmla="*/ 1252159 h 1361164"/>
              <a:gd name="connsiteX2" fmla="*/ 64655 w 64655"/>
              <a:gd name="connsiteY2" fmla="*/ 1328588 h 1361164"/>
              <a:gd name="connsiteX3" fmla="*/ 32962 w 64655"/>
              <a:gd name="connsiteY3" fmla="*/ 1361164 h 1361164"/>
              <a:gd name="connsiteX4" fmla="*/ 0 w 64655"/>
              <a:gd name="connsiteY4" fmla="*/ 1328588 h 1361164"/>
              <a:gd name="connsiteX5" fmla="*/ 0 w 64655"/>
              <a:gd name="connsiteY5" fmla="*/ 1252159 h 1361164"/>
              <a:gd name="connsiteX6" fmla="*/ 32962 w 64655"/>
              <a:gd name="connsiteY6" fmla="*/ 1219583 h 1361164"/>
              <a:gd name="connsiteX7" fmla="*/ 32962 w 64655"/>
              <a:gd name="connsiteY7" fmla="*/ 894102 h 1361164"/>
              <a:gd name="connsiteX8" fmla="*/ 64655 w 64655"/>
              <a:gd name="connsiteY8" fmla="*/ 925227 h 1361164"/>
              <a:gd name="connsiteX9" fmla="*/ 64655 w 64655"/>
              <a:gd name="connsiteY9" fmla="*/ 1088324 h 1361164"/>
              <a:gd name="connsiteX10" fmla="*/ 32962 w 64655"/>
              <a:gd name="connsiteY10" fmla="*/ 1119449 h 1361164"/>
              <a:gd name="connsiteX11" fmla="*/ 0 w 64655"/>
              <a:gd name="connsiteY11" fmla="*/ 1088324 h 1361164"/>
              <a:gd name="connsiteX12" fmla="*/ 0 w 64655"/>
              <a:gd name="connsiteY12" fmla="*/ 925227 h 1361164"/>
              <a:gd name="connsiteX13" fmla="*/ 32962 w 64655"/>
              <a:gd name="connsiteY13" fmla="*/ 894102 h 1361164"/>
              <a:gd name="connsiteX14" fmla="*/ 32962 w 64655"/>
              <a:gd name="connsiteY14" fmla="*/ 566663 h 1361164"/>
              <a:gd name="connsiteX15" fmla="*/ 64655 w 64655"/>
              <a:gd name="connsiteY15" fmla="*/ 599034 h 1361164"/>
              <a:gd name="connsiteX16" fmla="*/ 64655 w 64655"/>
              <a:gd name="connsiteY16" fmla="*/ 762130 h 1361164"/>
              <a:gd name="connsiteX17" fmla="*/ 32962 w 64655"/>
              <a:gd name="connsiteY17" fmla="*/ 794501 h 1361164"/>
              <a:gd name="connsiteX18" fmla="*/ 0 w 64655"/>
              <a:gd name="connsiteY18" fmla="*/ 762130 h 1361164"/>
              <a:gd name="connsiteX19" fmla="*/ 0 w 64655"/>
              <a:gd name="connsiteY19" fmla="*/ 599034 h 1361164"/>
              <a:gd name="connsiteX20" fmla="*/ 32962 w 64655"/>
              <a:gd name="connsiteY20" fmla="*/ 566663 h 1361164"/>
              <a:gd name="connsiteX21" fmla="*/ 32962 w 64655"/>
              <a:gd name="connsiteY21" fmla="*/ 241715 h 1361164"/>
              <a:gd name="connsiteX22" fmla="*/ 64655 w 64655"/>
              <a:gd name="connsiteY22" fmla="*/ 272840 h 1361164"/>
              <a:gd name="connsiteX23" fmla="*/ 64655 w 64655"/>
              <a:gd name="connsiteY23" fmla="*/ 435937 h 1361164"/>
              <a:gd name="connsiteX24" fmla="*/ 32962 w 64655"/>
              <a:gd name="connsiteY24" fmla="*/ 467062 h 1361164"/>
              <a:gd name="connsiteX25" fmla="*/ 0 w 64655"/>
              <a:gd name="connsiteY25" fmla="*/ 435937 h 1361164"/>
              <a:gd name="connsiteX26" fmla="*/ 0 w 64655"/>
              <a:gd name="connsiteY26" fmla="*/ 272840 h 1361164"/>
              <a:gd name="connsiteX27" fmla="*/ 32962 w 64655"/>
              <a:gd name="connsiteY27" fmla="*/ 241715 h 1361164"/>
              <a:gd name="connsiteX28" fmla="*/ 32962 w 64655"/>
              <a:gd name="connsiteY28" fmla="*/ 0 h 1361164"/>
              <a:gd name="connsiteX29" fmla="*/ 64655 w 64655"/>
              <a:gd name="connsiteY29" fmla="*/ 32864 h 1361164"/>
              <a:gd name="connsiteX30" fmla="*/ 64655 w 64655"/>
              <a:gd name="connsiteY30" fmla="*/ 109970 h 1361164"/>
              <a:gd name="connsiteX31" fmla="*/ 32962 w 64655"/>
              <a:gd name="connsiteY31" fmla="*/ 141570 h 1361164"/>
              <a:gd name="connsiteX32" fmla="*/ 0 w 64655"/>
              <a:gd name="connsiteY32" fmla="*/ 109970 h 1361164"/>
              <a:gd name="connsiteX33" fmla="*/ 0 w 64655"/>
              <a:gd name="connsiteY33" fmla="*/ 32864 h 1361164"/>
              <a:gd name="connsiteX34" fmla="*/ 32962 w 64655"/>
              <a:gd name="connsiteY34" fmla="*/ 0 h 136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55" h="1361164">
                <a:moveTo>
                  <a:pt x="32962" y="1219583"/>
                </a:moveTo>
                <a:cubicBezTo>
                  <a:pt x="50710" y="1219583"/>
                  <a:pt x="64655" y="1234618"/>
                  <a:pt x="64655" y="1252159"/>
                </a:cubicBezTo>
                <a:lnTo>
                  <a:pt x="64655" y="1328588"/>
                </a:lnTo>
                <a:cubicBezTo>
                  <a:pt x="64655" y="1347382"/>
                  <a:pt x="50710" y="1361164"/>
                  <a:pt x="32962" y="1361164"/>
                </a:cubicBezTo>
                <a:cubicBezTo>
                  <a:pt x="15213" y="1361164"/>
                  <a:pt x="0" y="1347382"/>
                  <a:pt x="0" y="1328588"/>
                </a:cubicBezTo>
                <a:lnTo>
                  <a:pt x="0" y="1252159"/>
                </a:lnTo>
                <a:cubicBezTo>
                  <a:pt x="0" y="1234618"/>
                  <a:pt x="15213" y="1219583"/>
                  <a:pt x="32962" y="1219583"/>
                </a:cubicBezTo>
                <a:close/>
                <a:moveTo>
                  <a:pt x="32962" y="894102"/>
                </a:moveTo>
                <a:cubicBezTo>
                  <a:pt x="50710" y="894102"/>
                  <a:pt x="64655" y="907797"/>
                  <a:pt x="64655" y="925227"/>
                </a:cubicBezTo>
                <a:lnTo>
                  <a:pt x="64655" y="1088324"/>
                </a:lnTo>
                <a:cubicBezTo>
                  <a:pt x="64655" y="1105754"/>
                  <a:pt x="50710" y="1119449"/>
                  <a:pt x="32962" y="1119449"/>
                </a:cubicBezTo>
                <a:cubicBezTo>
                  <a:pt x="15213" y="1119449"/>
                  <a:pt x="0" y="1105754"/>
                  <a:pt x="0" y="1088324"/>
                </a:cubicBezTo>
                <a:lnTo>
                  <a:pt x="0" y="925227"/>
                </a:lnTo>
                <a:cubicBezTo>
                  <a:pt x="0" y="907797"/>
                  <a:pt x="15213" y="894102"/>
                  <a:pt x="32962" y="894102"/>
                </a:cubicBezTo>
                <a:close/>
                <a:moveTo>
                  <a:pt x="32962" y="566663"/>
                </a:moveTo>
                <a:cubicBezTo>
                  <a:pt x="50710" y="566663"/>
                  <a:pt x="64655" y="581603"/>
                  <a:pt x="64655" y="599034"/>
                </a:cubicBezTo>
                <a:lnTo>
                  <a:pt x="64655" y="762130"/>
                </a:lnTo>
                <a:cubicBezTo>
                  <a:pt x="64655" y="779560"/>
                  <a:pt x="50710" y="794501"/>
                  <a:pt x="32962" y="794501"/>
                </a:cubicBezTo>
                <a:cubicBezTo>
                  <a:pt x="15213" y="794501"/>
                  <a:pt x="0" y="779560"/>
                  <a:pt x="0" y="762130"/>
                </a:cubicBezTo>
                <a:lnTo>
                  <a:pt x="0" y="599034"/>
                </a:lnTo>
                <a:cubicBezTo>
                  <a:pt x="0" y="581603"/>
                  <a:pt x="15213" y="566663"/>
                  <a:pt x="32962" y="566663"/>
                </a:cubicBezTo>
                <a:close/>
                <a:moveTo>
                  <a:pt x="32962" y="241715"/>
                </a:moveTo>
                <a:cubicBezTo>
                  <a:pt x="50710" y="241715"/>
                  <a:pt x="64655" y="255410"/>
                  <a:pt x="64655" y="272840"/>
                </a:cubicBezTo>
                <a:lnTo>
                  <a:pt x="64655" y="435937"/>
                </a:lnTo>
                <a:cubicBezTo>
                  <a:pt x="64655" y="453367"/>
                  <a:pt x="50710" y="467062"/>
                  <a:pt x="32962" y="467062"/>
                </a:cubicBezTo>
                <a:cubicBezTo>
                  <a:pt x="15213" y="467062"/>
                  <a:pt x="0" y="453367"/>
                  <a:pt x="0" y="435937"/>
                </a:cubicBezTo>
                <a:lnTo>
                  <a:pt x="0" y="272840"/>
                </a:lnTo>
                <a:cubicBezTo>
                  <a:pt x="0" y="255410"/>
                  <a:pt x="15213" y="241715"/>
                  <a:pt x="32962" y="241715"/>
                </a:cubicBezTo>
                <a:close/>
                <a:moveTo>
                  <a:pt x="32962" y="0"/>
                </a:moveTo>
                <a:cubicBezTo>
                  <a:pt x="50710" y="0"/>
                  <a:pt x="64655" y="15168"/>
                  <a:pt x="64655" y="32864"/>
                </a:cubicBezTo>
                <a:lnTo>
                  <a:pt x="64655" y="109970"/>
                </a:lnTo>
                <a:cubicBezTo>
                  <a:pt x="64655" y="127666"/>
                  <a:pt x="50710" y="141570"/>
                  <a:pt x="32962" y="141570"/>
                </a:cubicBezTo>
                <a:cubicBezTo>
                  <a:pt x="15213" y="141570"/>
                  <a:pt x="0" y="127666"/>
                  <a:pt x="0" y="109970"/>
                </a:cubicBezTo>
                <a:lnTo>
                  <a:pt x="0" y="32864"/>
                </a:lnTo>
                <a:cubicBezTo>
                  <a:pt x="0" y="15168"/>
                  <a:pt x="15213" y="0"/>
                  <a:pt x="32962" y="0"/>
                </a:cubicBezTo>
                <a:close/>
              </a:path>
            </a:pathLst>
          </a:custGeom>
          <a:solidFill>
            <a:schemeClr val="accent2"/>
          </a:solidFill>
          <a:ln>
            <a:noFill/>
          </a:ln>
          <a:effectLst/>
        </p:spPr>
        <p:txBody>
          <a:bodyPr wrap="square" anchor="ctr">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2449"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Freeform 28">
            <a:extLst>
              <a:ext uri="{FF2B5EF4-FFF2-40B4-BE49-F238E27FC236}">
                <a16:creationId xmlns:a16="http://schemas.microsoft.com/office/drawing/2014/main" id="{DF75B163-DACA-FAC8-1782-858E6F92ED81}"/>
              </a:ext>
            </a:extLst>
          </p:cNvPr>
          <p:cNvSpPr>
            <a:spLocks noChangeArrowheads="1"/>
          </p:cNvSpPr>
          <p:nvPr/>
        </p:nvSpPr>
        <p:spPr bwMode="auto">
          <a:xfrm>
            <a:off x="6060213" y="2942415"/>
            <a:ext cx="27835" cy="583624"/>
          </a:xfrm>
          <a:custGeom>
            <a:avLst/>
            <a:gdLst>
              <a:gd name="connsiteX0" fmla="*/ 32962 w 64655"/>
              <a:gd name="connsiteY0" fmla="*/ 1214095 h 1355665"/>
              <a:gd name="connsiteX1" fmla="*/ 64655 w 64655"/>
              <a:gd name="connsiteY1" fmla="*/ 1245696 h 1355665"/>
              <a:gd name="connsiteX2" fmla="*/ 64655 w 64655"/>
              <a:gd name="connsiteY2" fmla="*/ 1322801 h 1355665"/>
              <a:gd name="connsiteX3" fmla="*/ 32962 w 64655"/>
              <a:gd name="connsiteY3" fmla="*/ 1355665 h 1355665"/>
              <a:gd name="connsiteX4" fmla="*/ 0 w 64655"/>
              <a:gd name="connsiteY4" fmla="*/ 1322801 h 1355665"/>
              <a:gd name="connsiteX5" fmla="*/ 0 w 64655"/>
              <a:gd name="connsiteY5" fmla="*/ 1245696 h 1355665"/>
              <a:gd name="connsiteX6" fmla="*/ 32962 w 64655"/>
              <a:gd name="connsiteY6" fmla="*/ 1214095 h 1355665"/>
              <a:gd name="connsiteX7" fmla="*/ 32962 w 64655"/>
              <a:gd name="connsiteY7" fmla="*/ 888615 h 1355665"/>
              <a:gd name="connsiteX8" fmla="*/ 64655 w 64655"/>
              <a:gd name="connsiteY8" fmla="*/ 919740 h 1355665"/>
              <a:gd name="connsiteX9" fmla="*/ 64655 w 64655"/>
              <a:gd name="connsiteY9" fmla="*/ 1081592 h 1355665"/>
              <a:gd name="connsiteX10" fmla="*/ 32962 w 64655"/>
              <a:gd name="connsiteY10" fmla="*/ 1113962 h 1355665"/>
              <a:gd name="connsiteX11" fmla="*/ 0 w 64655"/>
              <a:gd name="connsiteY11" fmla="*/ 1081592 h 1355665"/>
              <a:gd name="connsiteX12" fmla="*/ 0 w 64655"/>
              <a:gd name="connsiteY12" fmla="*/ 919740 h 1355665"/>
              <a:gd name="connsiteX13" fmla="*/ 32962 w 64655"/>
              <a:gd name="connsiteY13" fmla="*/ 888615 h 1355665"/>
              <a:gd name="connsiteX14" fmla="*/ 32962 w 64655"/>
              <a:gd name="connsiteY14" fmla="*/ 561177 h 1355665"/>
              <a:gd name="connsiteX15" fmla="*/ 64655 w 64655"/>
              <a:gd name="connsiteY15" fmla="*/ 593547 h 1355665"/>
              <a:gd name="connsiteX16" fmla="*/ 64655 w 64655"/>
              <a:gd name="connsiteY16" fmla="*/ 756644 h 1355665"/>
              <a:gd name="connsiteX17" fmla="*/ 32962 w 64655"/>
              <a:gd name="connsiteY17" fmla="*/ 787769 h 1355665"/>
              <a:gd name="connsiteX18" fmla="*/ 0 w 64655"/>
              <a:gd name="connsiteY18" fmla="*/ 756644 h 1355665"/>
              <a:gd name="connsiteX19" fmla="*/ 0 w 64655"/>
              <a:gd name="connsiteY19" fmla="*/ 593547 h 1355665"/>
              <a:gd name="connsiteX20" fmla="*/ 32962 w 64655"/>
              <a:gd name="connsiteY20" fmla="*/ 561177 h 1355665"/>
              <a:gd name="connsiteX21" fmla="*/ 32962 w 64655"/>
              <a:gd name="connsiteY21" fmla="*/ 236228 h 1355665"/>
              <a:gd name="connsiteX22" fmla="*/ 64655 w 64655"/>
              <a:gd name="connsiteY22" fmla="*/ 267354 h 1355665"/>
              <a:gd name="connsiteX23" fmla="*/ 64655 w 64655"/>
              <a:gd name="connsiteY23" fmla="*/ 430450 h 1355665"/>
              <a:gd name="connsiteX24" fmla="*/ 32962 w 64655"/>
              <a:gd name="connsiteY24" fmla="*/ 462821 h 1355665"/>
              <a:gd name="connsiteX25" fmla="*/ 0 w 64655"/>
              <a:gd name="connsiteY25" fmla="*/ 430450 h 1355665"/>
              <a:gd name="connsiteX26" fmla="*/ 0 w 64655"/>
              <a:gd name="connsiteY26" fmla="*/ 267354 h 1355665"/>
              <a:gd name="connsiteX27" fmla="*/ 32962 w 64655"/>
              <a:gd name="connsiteY27" fmla="*/ 236228 h 1355665"/>
              <a:gd name="connsiteX28" fmla="*/ 32962 w 64655"/>
              <a:gd name="connsiteY28" fmla="*/ 0 h 1355665"/>
              <a:gd name="connsiteX29" fmla="*/ 64655 w 64655"/>
              <a:gd name="connsiteY29" fmla="*/ 30657 h 1355665"/>
              <a:gd name="connsiteX30" fmla="*/ 64655 w 64655"/>
              <a:gd name="connsiteY30" fmla="*/ 105459 h 1355665"/>
              <a:gd name="connsiteX31" fmla="*/ 32962 w 64655"/>
              <a:gd name="connsiteY31" fmla="*/ 136116 h 1355665"/>
              <a:gd name="connsiteX32" fmla="*/ 0 w 64655"/>
              <a:gd name="connsiteY32" fmla="*/ 105459 h 1355665"/>
              <a:gd name="connsiteX33" fmla="*/ 0 w 64655"/>
              <a:gd name="connsiteY33" fmla="*/ 30657 h 1355665"/>
              <a:gd name="connsiteX34" fmla="*/ 32962 w 64655"/>
              <a:gd name="connsiteY34" fmla="*/ 0 h 135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55" h="1355665">
                <a:moveTo>
                  <a:pt x="32962" y="1214095"/>
                </a:moveTo>
                <a:cubicBezTo>
                  <a:pt x="49442" y="1214095"/>
                  <a:pt x="64655" y="1227999"/>
                  <a:pt x="64655" y="1245696"/>
                </a:cubicBezTo>
                <a:lnTo>
                  <a:pt x="64655" y="1322801"/>
                </a:lnTo>
                <a:cubicBezTo>
                  <a:pt x="64655" y="1340497"/>
                  <a:pt x="49442" y="1355665"/>
                  <a:pt x="32962" y="1355665"/>
                </a:cubicBezTo>
                <a:cubicBezTo>
                  <a:pt x="15213" y="1355665"/>
                  <a:pt x="0" y="1340497"/>
                  <a:pt x="0" y="1322801"/>
                </a:cubicBezTo>
                <a:lnTo>
                  <a:pt x="0" y="1245696"/>
                </a:lnTo>
                <a:cubicBezTo>
                  <a:pt x="0" y="1227999"/>
                  <a:pt x="15213" y="1214095"/>
                  <a:pt x="32962" y="1214095"/>
                </a:cubicBezTo>
                <a:close/>
                <a:moveTo>
                  <a:pt x="32962" y="888615"/>
                </a:moveTo>
                <a:cubicBezTo>
                  <a:pt x="49442" y="888615"/>
                  <a:pt x="64655" y="902310"/>
                  <a:pt x="64655" y="919740"/>
                </a:cubicBezTo>
                <a:lnTo>
                  <a:pt x="64655" y="1081592"/>
                </a:lnTo>
                <a:cubicBezTo>
                  <a:pt x="64655" y="1099022"/>
                  <a:pt x="49442" y="1113962"/>
                  <a:pt x="32962" y="1113962"/>
                </a:cubicBezTo>
                <a:cubicBezTo>
                  <a:pt x="15213" y="1113962"/>
                  <a:pt x="0" y="1099022"/>
                  <a:pt x="0" y="1081592"/>
                </a:cubicBezTo>
                <a:lnTo>
                  <a:pt x="0" y="919740"/>
                </a:lnTo>
                <a:cubicBezTo>
                  <a:pt x="0" y="902310"/>
                  <a:pt x="15213" y="888615"/>
                  <a:pt x="32962" y="888615"/>
                </a:cubicBezTo>
                <a:close/>
                <a:moveTo>
                  <a:pt x="32962" y="561177"/>
                </a:moveTo>
                <a:cubicBezTo>
                  <a:pt x="49442" y="561177"/>
                  <a:pt x="64655" y="576117"/>
                  <a:pt x="64655" y="593547"/>
                </a:cubicBezTo>
                <a:lnTo>
                  <a:pt x="64655" y="756644"/>
                </a:lnTo>
                <a:cubicBezTo>
                  <a:pt x="64655" y="774074"/>
                  <a:pt x="49442" y="787769"/>
                  <a:pt x="32962" y="787769"/>
                </a:cubicBezTo>
                <a:cubicBezTo>
                  <a:pt x="15213" y="787769"/>
                  <a:pt x="0" y="774074"/>
                  <a:pt x="0" y="756644"/>
                </a:cubicBezTo>
                <a:lnTo>
                  <a:pt x="0" y="593547"/>
                </a:lnTo>
                <a:cubicBezTo>
                  <a:pt x="0" y="576117"/>
                  <a:pt x="15213" y="561177"/>
                  <a:pt x="32962" y="561177"/>
                </a:cubicBezTo>
                <a:close/>
                <a:moveTo>
                  <a:pt x="32962" y="236228"/>
                </a:moveTo>
                <a:cubicBezTo>
                  <a:pt x="49442" y="236228"/>
                  <a:pt x="64655" y="249923"/>
                  <a:pt x="64655" y="267354"/>
                </a:cubicBezTo>
                <a:lnTo>
                  <a:pt x="64655" y="430450"/>
                </a:lnTo>
                <a:cubicBezTo>
                  <a:pt x="64655" y="447880"/>
                  <a:pt x="49442" y="462821"/>
                  <a:pt x="32962" y="462821"/>
                </a:cubicBezTo>
                <a:cubicBezTo>
                  <a:pt x="15213" y="462821"/>
                  <a:pt x="0" y="447880"/>
                  <a:pt x="0" y="430450"/>
                </a:cubicBezTo>
                <a:lnTo>
                  <a:pt x="0" y="267354"/>
                </a:lnTo>
                <a:cubicBezTo>
                  <a:pt x="0" y="249923"/>
                  <a:pt x="15213" y="236228"/>
                  <a:pt x="32962" y="236228"/>
                </a:cubicBezTo>
                <a:close/>
                <a:moveTo>
                  <a:pt x="32962" y="0"/>
                </a:moveTo>
                <a:cubicBezTo>
                  <a:pt x="49442" y="0"/>
                  <a:pt x="64655" y="13489"/>
                  <a:pt x="64655" y="30657"/>
                </a:cubicBezTo>
                <a:lnTo>
                  <a:pt x="64655" y="105459"/>
                </a:lnTo>
                <a:cubicBezTo>
                  <a:pt x="64655" y="122627"/>
                  <a:pt x="49442" y="136116"/>
                  <a:pt x="32962" y="136116"/>
                </a:cubicBezTo>
                <a:cubicBezTo>
                  <a:pt x="15213" y="136116"/>
                  <a:pt x="0" y="122627"/>
                  <a:pt x="0" y="105459"/>
                </a:cubicBezTo>
                <a:lnTo>
                  <a:pt x="0" y="30657"/>
                </a:lnTo>
                <a:cubicBezTo>
                  <a:pt x="0" y="13489"/>
                  <a:pt x="15213" y="0"/>
                  <a:pt x="32962" y="0"/>
                </a:cubicBezTo>
                <a:close/>
              </a:path>
            </a:pathLst>
          </a:custGeom>
          <a:solidFill>
            <a:schemeClr val="accent3"/>
          </a:solidFill>
          <a:ln>
            <a:noFill/>
          </a:ln>
          <a:effectLst/>
        </p:spPr>
        <p:txBody>
          <a:bodyPr wrap="square" anchor="ctr">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2449"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Freeform 29">
            <a:extLst>
              <a:ext uri="{FF2B5EF4-FFF2-40B4-BE49-F238E27FC236}">
                <a16:creationId xmlns:a16="http://schemas.microsoft.com/office/drawing/2014/main" id="{A6DE715D-29B5-69EF-8128-2CB9BD0829E8}"/>
              </a:ext>
            </a:extLst>
          </p:cNvPr>
          <p:cNvSpPr>
            <a:spLocks noChangeArrowheads="1"/>
          </p:cNvSpPr>
          <p:nvPr/>
        </p:nvSpPr>
        <p:spPr bwMode="auto">
          <a:xfrm>
            <a:off x="7754879" y="2411995"/>
            <a:ext cx="27845" cy="585991"/>
          </a:xfrm>
          <a:custGeom>
            <a:avLst/>
            <a:gdLst>
              <a:gd name="connsiteX0" fmla="*/ 32340 w 64679"/>
              <a:gd name="connsiteY0" fmla="*/ 1219583 h 1361164"/>
              <a:gd name="connsiteX1" fmla="*/ 64679 w 64679"/>
              <a:gd name="connsiteY1" fmla="*/ 1252159 h 1361164"/>
              <a:gd name="connsiteX2" fmla="*/ 64679 w 64679"/>
              <a:gd name="connsiteY2" fmla="*/ 1328588 h 1361164"/>
              <a:gd name="connsiteX3" fmla="*/ 32340 w 64679"/>
              <a:gd name="connsiteY3" fmla="*/ 1361164 h 1361164"/>
              <a:gd name="connsiteX4" fmla="*/ 0 w 64679"/>
              <a:gd name="connsiteY4" fmla="*/ 1328588 h 1361164"/>
              <a:gd name="connsiteX5" fmla="*/ 0 w 64679"/>
              <a:gd name="connsiteY5" fmla="*/ 1252159 h 1361164"/>
              <a:gd name="connsiteX6" fmla="*/ 32340 w 64679"/>
              <a:gd name="connsiteY6" fmla="*/ 1219583 h 1361164"/>
              <a:gd name="connsiteX7" fmla="*/ 32340 w 64679"/>
              <a:gd name="connsiteY7" fmla="*/ 894102 h 1361164"/>
              <a:gd name="connsiteX8" fmla="*/ 64679 w 64679"/>
              <a:gd name="connsiteY8" fmla="*/ 925227 h 1361164"/>
              <a:gd name="connsiteX9" fmla="*/ 64679 w 64679"/>
              <a:gd name="connsiteY9" fmla="*/ 1088324 h 1361164"/>
              <a:gd name="connsiteX10" fmla="*/ 32340 w 64679"/>
              <a:gd name="connsiteY10" fmla="*/ 1119449 h 1361164"/>
              <a:gd name="connsiteX11" fmla="*/ 0 w 64679"/>
              <a:gd name="connsiteY11" fmla="*/ 1088324 h 1361164"/>
              <a:gd name="connsiteX12" fmla="*/ 0 w 64679"/>
              <a:gd name="connsiteY12" fmla="*/ 925227 h 1361164"/>
              <a:gd name="connsiteX13" fmla="*/ 32340 w 64679"/>
              <a:gd name="connsiteY13" fmla="*/ 894102 h 1361164"/>
              <a:gd name="connsiteX14" fmla="*/ 32340 w 64679"/>
              <a:gd name="connsiteY14" fmla="*/ 566663 h 1361164"/>
              <a:gd name="connsiteX15" fmla="*/ 64679 w 64679"/>
              <a:gd name="connsiteY15" fmla="*/ 599034 h 1361164"/>
              <a:gd name="connsiteX16" fmla="*/ 64679 w 64679"/>
              <a:gd name="connsiteY16" fmla="*/ 762130 h 1361164"/>
              <a:gd name="connsiteX17" fmla="*/ 32340 w 64679"/>
              <a:gd name="connsiteY17" fmla="*/ 794501 h 1361164"/>
              <a:gd name="connsiteX18" fmla="*/ 0 w 64679"/>
              <a:gd name="connsiteY18" fmla="*/ 762130 h 1361164"/>
              <a:gd name="connsiteX19" fmla="*/ 0 w 64679"/>
              <a:gd name="connsiteY19" fmla="*/ 599034 h 1361164"/>
              <a:gd name="connsiteX20" fmla="*/ 32340 w 64679"/>
              <a:gd name="connsiteY20" fmla="*/ 566663 h 1361164"/>
              <a:gd name="connsiteX21" fmla="*/ 32340 w 64679"/>
              <a:gd name="connsiteY21" fmla="*/ 241715 h 1361164"/>
              <a:gd name="connsiteX22" fmla="*/ 64679 w 64679"/>
              <a:gd name="connsiteY22" fmla="*/ 272840 h 1361164"/>
              <a:gd name="connsiteX23" fmla="*/ 64679 w 64679"/>
              <a:gd name="connsiteY23" fmla="*/ 435937 h 1361164"/>
              <a:gd name="connsiteX24" fmla="*/ 32340 w 64679"/>
              <a:gd name="connsiteY24" fmla="*/ 467062 h 1361164"/>
              <a:gd name="connsiteX25" fmla="*/ 0 w 64679"/>
              <a:gd name="connsiteY25" fmla="*/ 435937 h 1361164"/>
              <a:gd name="connsiteX26" fmla="*/ 0 w 64679"/>
              <a:gd name="connsiteY26" fmla="*/ 272840 h 1361164"/>
              <a:gd name="connsiteX27" fmla="*/ 32340 w 64679"/>
              <a:gd name="connsiteY27" fmla="*/ 241715 h 1361164"/>
              <a:gd name="connsiteX28" fmla="*/ 32340 w 64679"/>
              <a:gd name="connsiteY28" fmla="*/ 0 h 1361164"/>
              <a:gd name="connsiteX29" fmla="*/ 64679 w 64679"/>
              <a:gd name="connsiteY29" fmla="*/ 32864 h 1361164"/>
              <a:gd name="connsiteX30" fmla="*/ 64679 w 64679"/>
              <a:gd name="connsiteY30" fmla="*/ 109970 h 1361164"/>
              <a:gd name="connsiteX31" fmla="*/ 32340 w 64679"/>
              <a:gd name="connsiteY31" fmla="*/ 141570 h 1361164"/>
              <a:gd name="connsiteX32" fmla="*/ 0 w 64679"/>
              <a:gd name="connsiteY32" fmla="*/ 109970 h 1361164"/>
              <a:gd name="connsiteX33" fmla="*/ 0 w 64679"/>
              <a:gd name="connsiteY33" fmla="*/ 32864 h 1361164"/>
              <a:gd name="connsiteX34" fmla="*/ 32340 w 64679"/>
              <a:gd name="connsiteY34" fmla="*/ 0 h 136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79" h="1361164">
                <a:moveTo>
                  <a:pt x="32340" y="1219583"/>
                </a:moveTo>
                <a:cubicBezTo>
                  <a:pt x="49753" y="1219583"/>
                  <a:pt x="64679" y="1234618"/>
                  <a:pt x="64679" y="1252159"/>
                </a:cubicBezTo>
                <a:lnTo>
                  <a:pt x="64679" y="1328588"/>
                </a:lnTo>
                <a:cubicBezTo>
                  <a:pt x="64679" y="1347382"/>
                  <a:pt x="49753" y="1361164"/>
                  <a:pt x="32340" y="1361164"/>
                </a:cubicBezTo>
                <a:cubicBezTo>
                  <a:pt x="14926" y="1361164"/>
                  <a:pt x="0" y="1347382"/>
                  <a:pt x="0" y="1328588"/>
                </a:cubicBezTo>
                <a:lnTo>
                  <a:pt x="0" y="1252159"/>
                </a:lnTo>
                <a:cubicBezTo>
                  <a:pt x="0" y="1234618"/>
                  <a:pt x="14926" y="1219583"/>
                  <a:pt x="32340" y="1219583"/>
                </a:cubicBezTo>
                <a:close/>
                <a:moveTo>
                  <a:pt x="32340" y="894102"/>
                </a:moveTo>
                <a:cubicBezTo>
                  <a:pt x="49753" y="894102"/>
                  <a:pt x="64679" y="907797"/>
                  <a:pt x="64679" y="925227"/>
                </a:cubicBezTo>
                <a:lnTo>
                  <a:pt x="64679" y="1088324"/>
                </a:lnTo>
                <a:cubicBezTo>
                  <a:pt x="64679" y="1105754"/>
                  <a:pt x="49753" y="1119449"/>
                  <a:pt x="32340" y="1119449"/>
                </a:cubicBezTo>
                <a:cubicBezTo>
                  <a:pt x="14926" y="1119449"/>
                  <a:pt x="0" y="1105754"/>
                  <a:pt x="0" y="1088324"/>
                </a:cubicBezTo>
                <a:lnTo>
                  <a:pt x="0" y="925227"/>
                </a:lnTo>
                <a:cubicBezTo>
                  <a:pt x="0" y="907797"/>
                  <a:pt x="14926" y="894102"/>
                  <a:pt x="32340" y="894102"/>
                </a:cubicBezTo>
                <a:close/>
                <a:moveTo>
                  <a:pt x="32340" y="566663"/>
                </a:moveTo>
                <a:cubicBezTo>
                  <a:pt x="49753" y="566663"/>
                  <a:pt x="64679" y="581603"/>
                  <a:pt x="64679" y="599034"/>
                </a:cubicBezTo>
                <a:lnTo>
                  <a:pt x="64679" y="762130"/>
                </a:lnTo>
                <a:cubicBezTo>
                  <a:pt x="64679" y="779560"/>
                  <a:pt x="49753" y="794501"/>
                  <a:pt x="32340" y="794501"/>
                </a:cubicBezTo>
                <a:cubicBezTo>
                  <a:pt x="14926" y="794501"/>
                  <a:pt x="0" y="779560"/>
                  <a:pt x="0" y="762130"/>
                </a:cubicBezTo>
                <a:lnTo>
                  <a:pt x="0" y="599034"/>
                </a:lnTo>
                <a:cubicBezTo>
                  <a:pt x="0" y="581603"/>
                  <a:pt x="14926" y="566663"/>
                  <a:pt x="32340" y="566663"/>
                </a:cubicBezTo>
                <a:close/>
                <a:moveTo>
                  <a:pt x="32340" y="241715"/>
                </a:moveTo>
                <a:cubicBezTo>
                  <a:pt x="49753" y="241715"/>
                  <a:pt x="64679" y="255410"/>
                  <a:pt x="64679" y="272840"/>
                </a:cubicBezTo>
                <a:lnTo>
                  <a:pt x="64679" y="435937"/>
                </a:lnTo>
                <a:cubicBezTo>
                  <a:pt x="64679" y="453367"/>
                  <a:pt x="49753" y="467062"/>
                  <a:pt x="32340" y="467062"/>
                </a:cubicBezTo>
                <a:cubicBezTo>
                  <a:pt x="14926" y="467062"/>
                  <a:pt x="0" y="453367"/>
                  <a:pt x="0" y="435937"/>
                </a:cubicBezTo>
                <a:lnTo>
                  <a:pt x="0" y="272840"/>
                </a:lnTo>
                <a:cubicBezTo>
                  <a:pt x="0" y="255410"/>
                  <a:pt x="14926" y="241715"/>
                  <a:pt x="32340" y="241715"/>
                </a:cubicBezTo>
                <a:close/>
                <a:moveTo>
                  <a:pt x="32340" y="0"/>
                </a:moveTo>
                <a:cubicBezTo>
                  <a:pt x="49753" y="0"/>
                  <a:pt x="64679" y="15168"/>
                  <a:pt x="64679" y="32864"/>
                </a:cubicBezTo>
                <a:lnTo>
                  <a:pt x="64679" y="109970"/>
                </a:lnTo>
                <a:cubicBezTo>
                  <a:pt x="64679" y="127666"/>
                  <a:pt x="49753" y="141570"/>
                  <a:pt x="32340" y="141570"/>
                </a:cubicBezTo>
                <a:cubicBezTo>
                  <a:pt x="14926" y="141570"/>
                  <a:pt x="0" y="127666"/>
                  <a:pt x="0" y="109970"/>
                </a:cubicBezTo>
                <a:lnTo>
                  <a:pt x="0" y="32864"/>
                </a:lnTo>
                <a:cubicBezTo>
                  <a:pt x="0" y="15168"/>
                  <a:pt x="14926" y="0"/>
                  <a:pt x="32340" y="0"/>
                </a:cubicBezTo>
                <a:close/>
              </a:path>
            </a:pathLst>
          </a:custGeom>
          <a:solidFill>
            <a:schemeClr val="accent4"/>
          </a:solidFill>
          <a:ln>
            <a:noFill/>
          </a:ln>
          <a:effectLst/>
        </p:spPr>
        <p:txBody>
          <a:bodyPr wrap="square" anchor="ctr">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2449"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Freeform 30">
            <a:extLst>
              <a:ext uri="{FF2B5EF4-FFF2-40B4-BE49-F238E27FC236}">
                <a16:creationId xmlns:a16="http://schemas.microsoft.com/office/drawing/2014/main" id="{F7B9D16F-2DEC-F2CC-710A-1F349D4C31EC}"/>
              </a:ext>
            </a:extLst>
          </p:cNvPr>
          <p:cNvSpPr>
            <a:spLocks noChangeArrowheads="1"/>
          </p:cNvSpPr>
          <p:nvPr/>
        </p:nvSpPr>
        <p:spPr bwMode="auto">
          <a:xfrm>
            <a:off x="8667253" y="4897621"/>
            <a:ext cx="27835" cy="583624"/>
          </a:xfrm>
          <a:custGeom>
            <a:avLst/>
            <a:gdLst>
              <a:gd name="connsiteX0" fmla="*/ 32962 w 64656"/>
              <a:gd name="connsiteY0" fmla="*/ 1214095 h 1355665"/>
              <a:gd name="connsiteX1" fmla="*/ 64656 w 64656"/>
              <a:gd name="connsiteY1" fmla="*/ 1245696 h 1355665"/>
              <a:gd name="connsiteX2" fmla="*/ 64656 w 64656"/>
              <a:gd name="connsiteY2" fmla="*/ 1322801 h 1355665"/>
              <a:gd name="connsiteX3" fmla="*/ 32962 w 64656"/>
              <a:gd name="connsiteY3" fmla="*/ 1355665 h 1355665"/>
              <a:gd name="connsiteX4" fmla="*/ 0 w 64656"/>
              <a:gd name="connsiteY4" fmla="*/ 1322801 h 1355665"/>
              <a:gd name="connsiteX5" fmla="*/ 0 w 64656"/>
              <a:gd name="connsiteY5" fmla="*/ 1245696 h 1355665"/>
              <a:gd name="connsiteX6" fmla="*/ 32962 w 64656"/>
              <a:gd name="connsiteY6" fmla="*/ 1214095 h 1355665"/>
              <a:gd name="connsiteX7" fmla="*/ 32962 w 64656"/>
              <a:gd name="connsiteY7" fmla="*/ 888615 h 1355665"/>
              <a:gd name="connsiteX8" fmla="*/ 64656 w 64656"/>
              <a:gd name="connsiteY8" fmla="*/ 919740 h 1355665"/>
              <a:gd name="connsiteX9" fmla="*/ 64656 w 64656"/>
              <a:gd name="connsiteY9" fmla="*/ 1081592 h 1355665"/>
              <a:gd name="connsiteX10" fmla="*/ 32962 w 64656"/>
              <a:gd name="connsiteY10" fmla="*/ 1113962 h 1355665"/>
              <a:gd name="connsiteX11" fmla="*/ 0 w 64656"/>
              <a:gd name="connsiteY11" fmla="*/ 1081592 h 1355665"/>
              <a:gd name="connsiteX12" fmla="*/ 0 w 64656"/>
              <a:gd name="connsiteY12" fmla="*/ 919740 h 1355665"/>
              <a:gd name="connsiteX13" fmla="*/ 32962 w 64656"/>
              <a:gd name="connsiteY13" fmla="*/ 888615 h 1355665"/>
              <a:gd name="connsiteX14" fmla="*/ 32962 w 64656"/>
              <a:gd name="connsiteY14" fmla="*/ 561177 h 1355665"/>
              <a:gd name="connsiteX15" fmla="*/ 64656 w 64656"/>
              <a:gd name="connsiteY15" fmla="*/ 593547 h 1355665"/>
              <a:gd name="connsiteX16" fmla="*/ 64656 w 64656"/>
              <a:gd name="connsiteY16" fmla="*/ 756644 h 1355665"/>
              <a:gd name="connsiteX17" fmla="*/ 32962 w 64656"/>
              <a:gd name="connsiteY17" fmla="*/ 787769 h 1355665"/>
              <a:gd name="connsiteX18" fmla="*/ 0 w 64656"/>
              <a:gd name="connsiteY18" fmla="*/ 756644 h 1355665"/>
              <a:gd name="connsiteX19" fmla="*/ 0 w 64656"/>
              <a:gd name="connsiteY19" fmla="*/ 593547 h 1355665"/>
              <a:gd name="connsiteX20" fmla="*/ 32962 w 64656"/>
              <a:gd name="connsiteY20" fmla="*/ 561177 h 1355665"/>
              <a:gd name="connsiteX21" fmla="*/ 32962 w 64656"/>
              <a:gd name="connsiteY21" fmla="*/ 236228 h 1355665"/>
              <a:gd name="connsiteX22" fmla="*/ 64656 w 64656"/>
              <a:gd name="connsiteY22" fmla="*/ 267354 h 1355665"/>
              <a:gd name="connsiteX23" fmla="*/ 64656 w 64656"/>
              <a:gd name="connsiteY23" fmla="*/ 430450 h 1355665"/>
              <a:gd name="connsiteX24" fmla="*/ 32962 w 64656"/>
              <a:gd name="connsiteY24" fmla="*/ 462821 h 1355665"/>
              <a:gd name="connsiteX25" fmla="*/ 0 w 64656"/>
              <a:gd name="connsiteY25" fmla="*/ 430450 h 1355665"/>
              <a:gd name="connsiteX26" fmla="*/ 0 w 64656"/>
              <a:gd name="connsiteY26" fmla="*/ 267354 h 1355665"/>
              <a:gd name="connsiteX27" fmla="*/ 32962 w 64656"/>
              <a:gd name="connsiteY27" fmla="*/ 236228 h 1355665"/>
              <a:gd name="connsiteX28" fmla="*/ 32962 w 64656"/>
              <a:gd name="connsiteY28" fmla="*/ 0 h 1355665"/>
              <a:gd name="connsiteX29" fmla="*/ 64656 w 64656"/>
              <a:gd name="connsiteY29" fmla="*/ 30657 h 1355665"/>
              <a:gd name="connsiteX30" fmla="*/ 64656 w 64656"/>
              <a:gd name="connsiteY30" fmla="*/ 105459 h 1355665"/>
              <a:gd name="connsiteX31" fmla="*/ 32962 w 64656"/>
              <a:gd name="connsiteY31" fmla="*/ 136116 h 1355665"/>
              <a:gd name="connsiteX32" fmla="*/ 0 w 64656"/>
              <a:gd name="connsiteY32" fmla="*/ 105459 h 1355665"/>
              <a:gd name="connsiteX33" fmla="*/ 0 w 64656"/>
              <a:gd name="connsiteY33" fmla="*/ 30657 h 1355665"/>
              <a:gd name="connsiteX34" fmla="*/ 32962 w 64656"/>
              <a:gd name="connsiteY34" fmla="*/ 0 h 135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56" h="1355665">
                <a:moveTo>
                  <a:pt x="32962" y="1214095"/>
                </a:moveTo>
                <a:cubicBezTo>
                  <a:pt x="50710" y="1214095"/>
                  <a:pt x="64656" y="1227999"/>
                  <a:pt x="64656" y="1245696"/>
                </a:cubicBezTo>
                <a:lnTo>
                  <a:pt x="64656" y="1322801"/>
                </a:lnTo>
                <a:cubicBezTo>
                  <a:pt x="64656" y="1340497"/>
                  <a:pt x="50710" y="1355665"/>
                  <a:pt x="32962" y="1355665"/>
                </a:cubicBezTo>
                <a:cubicBezTo>
                  <a:pt x="15212" y="1355665"/>
                  <a:pt x="0" y="1340497"/>
                  <a:pt x="0" y="1322801"/>
                </a:cubicBezTo>
                <a:lnTo>
                  <a:pt x="0" y="1245696"/>
                </a:lnTo>
                <a:cubicBezTo>
                  <a:pt x="0" y="1227999"/>
                  <a:pt x="15212" y="1214095"/>
                  <a:pt x="32962" y="1214095"/>
                </a:cubicBezTo>
                <a:close/>
                <a:moveTo>
                  <a:pt x="32962" y="888615"/>
                </a:moveTo>
                <a:cubicBezTo>
                  <a:pt x="50710" y="888615"/>
                  <a:pt x="64656" y="902310"/>
                  <a:pt x="64656" y="919740"/>
                </a:cubicBezTo>
                <a:lnTo>
                  <a:pt x="64656" y="1081592"/>
                </a:lnTo>
                <a:cubicBezTo>
                  <a:pt x="64656" y="1099022"/>
                  <a:pt x="50710" y="1113962"/>
                  <a:pt x="32962" y="1113962"/>
                </a:cubicBezTo>
                <a:cubicBezTo>
                  <a:pt x="15212" y="1113962"/>
                  <a:pt x="0" y="1099022"/>
                  <a:pt x="0" y="1081592"/>
                </a:cubicBezTo>
                <a:lnTo>
                  <a:pt x="0" y="919740"/>
                </a:lnTo>
                <a:cubicBezTo>
                  <a:pt x="0" y="902310"/>
                  <a:pt x="15212" y="888615"/>
                  <a:pt x="32962" y="888615"/>
                </a:cubicBezTo>
                <a:close/>
                <a:moveTo>
                  <a:pt x="32962" y="561177"/>
                </a:moveTo>
                <a:cubicBezTo>
                  <a:pt x="50710" y="561177"/>
                  <a:pt x="64656" y="576117"/>
                  <a:pt x="64656" y="593547"/>
                </a:cubicBezTo>
                <a:lnTo>
                  <a:pt x="64656" y="756644"/>
                </a:lnTo>
                <a:cubicBezTo>
                  <a:pt x="64656" y="774074"/>
                  <a:pt x="50710" y="787769"/>
                  <a:pt x="32962" y="787769"/>
                </a:cubicBezTo>
                <a:cubicBezTo>
                  <a:pt x="15212" y="787769"/>
                  <a:pt x="0" y="774074"/>
                  <a:pt x="0" y="756644"/>
                </a:cubicBezTo>
                <a:lnTo>
                  <a:pt x="0" y="593547"/>
                </a:lnTo>
                <a:cubicBezTo>
                  <a:pt x="0" y="576117"/>
                  <a:pt x="15212" y="561177"/>
                  <a:pt x="32962" y="561177"/>
                </a:cubicBezTo>
                <a:close/>
                <a:moveTo>
                  <a:pt x="32962" y="236228"/>
                </a:moveTo>
                <a:cubicBezTo>
                  <a:pt x="50710" y="236228"/>
                  <a:pt x="64656" y="249923"/>
                  <a:pt x="64656" y="267354"/>
                </a:cubicBezTo>
                <a:lnTo>
                  <a:pt x="64656" y="430450"/>
                </a:lnTo>
                <a:cubicBezTo>
                  <a:pt x="64656" y="447880"/>
                  <a:pt x="50710" y="462821"/>
                  <a:pt x="32962" y="462821"/>
                </a:cubicBezTo>
                <a:cubicBezTo>
                  <a:pt x="15212" y="462821"/>
                  <a:pt x="0" y="447880"/>
                  <a:pt x="0" y="430450"/>
                </a:cubicBezTo>
                <a:lnTo>
                  <a:pt x="0" y="267354"/>
                </a:lnTo>
                <a:cubicBezTo>
                  <a:pt x="0" y="249923"/>
                  <a:pt x="15212" y="236228"/>
                  <a:pt x="32962" y="236228"/>
                </a:cubicBezTo>
                <a:close/>
                <a:moveTo>
                  <a:pt x="32962" y="0"/>
                </a:moveTo>
                <a:cubicBezTo>
                  <a:pt x="50710" y="0"/>
                  <a:pt x="64656" y="13489"/>
                  <a:pt x="64656" y="30657"/>
                </a:cubicBezTo>
                <a:lnTo>
                  <a:pt x="64656" y="105459"/>
                </a:lnTo>
                <a:cubicBezTo>
                  <a:pt x="64656" y="122627"/>
                  <a:pt x="50710" y="136116"/>
                  <a:pt x="32962" y="136116"/>
                </a:cubicBezTo>
                <a:cubicBezTo>
                  <a:pt x="15212" y="136116"/>
                  <a:pt x="0" y="122627"/>
                  <a:pt x="0" y="105459"/>
                </a:cubicBezTo>
                <a:lnTo>
                  <a:pt x="0" y="30657"/>
                </a:lnTo>
                <a:cubicBezTo>
                  <a:pt x="0" y="13489"/>
                  <a:pt x="15212" y="0"/>
                  <a:pt x="32962" y="0"/>
                </a:cubicBezTo>
                <a:close/>
              </a:path>
            </a:pathLst>
          </a:custGeom>
          <a:solidFill>
            <a:schemeClr val="accent6"/>
          </a:solidFill>
          <a:ln>
            <a:noFill/>
          </a:ln>
          <a:effectLst/>
        </p:spPr>
        <p:txBody>
          <a:bodyPr wrap="square" anchor="ctr">
            <a:no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2449"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84CE2D2E-F55A-806C-F526-5F3CC03AD9DD}"/>
              </a:ext>
            </a:extLst>
          </p:cNvPr>
          <p:cNvSpPr txBox="1"/>
          <p:nvPr/>
        </p:nvSpPr>
        <p:spPr>
          <a:xfrm>
            <a:off x="2473465" y="1957553"/>
            <a:ext cx="1775691" cy="800347"/>
          </a:xfrm>
          <a:prstGeom prst="rect">
            <a:avLst/>
          </a:prstGeom>
          <a:noFill/>
        </p:spPr>
        <p:txBody>
          <a:bodyPr wrap="square" rtlCol="0" anchor="t">
            <a:spAutoFit/>
          </a:bodyPr>
          <a:lstStyle/>
          <a:p>
            <a:pPr marL="0" marR="0" lvl="0" indent="0" algn="ctr" defTabSz="342900" rtl="0" eaLnBrk="1" fontAlgn="auto" latinLnBrk="0" hangingPunct="1">
              <a:lnSpc>
                <a:spcPts val="1350"/>
              </a:lnSpc>
              <a:spcBef>
                <a:spcPts val="0"/>
              </a:spcBef>
              <a:spcAft>
                <a:spcPts val="0"/>
              </a:spcAft>
              <a:buClrTx/>
              <a:buSzTx/>
              <a:buFontTx/>
              <a:buNone/>
              <a:tabLst/>
              <a:defRPr/>
            </a:pPr>
            <a:r>
              <a:rPr kumimoji="0" lang="en-US" sz="1100" b="0" i="0" u="none" strike="noStrike" kern="1200" cap="none" spc="-11"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Do you know how your data is being used?  </a:t>
            </a:r>
          </a:p>
          <a:p>
            <a:pPr marL="0" marR="0" lvl="0" indent="0" algn="ctr" defTabSz="342900" rtl="0" eaLnBrk="1" fontAlgn="auto" latinLnBrk="0" hangingPunct="1">
              <a:lnSpc>
                <a:spcPts val="1350"/>
              </a:lnSpc>
              <a:spcBef>
                <a:spcPts val="0"/>
              </a:spcBef>
              <a:spcAft>
                <a:spcPts val="0"/>
              </a:spcAft>
              <a:buClrTx/>
              <a:buSzTx/>
              <a:buFontTx/>
              <a:buNone/>
              <a:tabLst/>
              <a:defRPr/>
            </a:pPr>
            <a:r>
              <a:rPr kumimoji="0" lang="en-US" sz="1100" b="0" i="0" u="none" strike="noStrike" kern="1200" cap="none" spc="-11"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Are individual privacy rights protected?</a:t>
            </a:r>
          </a:p>
        </p:txBody>
      </p:sp>
      <p:sp>
        <p:nvSpPr>
          <p:cNvPr id="10" name="TextBox 9">
            <a:extLst>
              <a:ext uri="{FF2B5EF4-FFF2-40B4-BE49-F238E27FC236}">
                <a16:creationId xmlns:a16="http://schemas.microsoft.com/office/drawing/2014/main" id="{5DD9BF0D-7F50-1407-7E84-BA26B984F8FE}"/>
              </a:ext>
            </a:extLst>
          </p:cNvPr>
          <p:cNvSpPr txBox="1"/>
          <p:nvPr/>
        </p:nvSpPr>
        <p:spPr>
          <a:xfrm>
            <a:off x="2900416" y="1745155"/>
            <a:ext cx="921791" cy="299249"/>
          </a:xfrm>
          <a:prstGeom prst="rect">
            <a:avLst/>
          </a:prstGeom>
          <a:noFill/>
        </p:spPr>
        <p:txBody>
          <a:bodyPr wrap="none" rtlCol="0" anchor="b">
            <a:spAutoFit/>
          </a:bodyPr>
          <a:lstStyle/>
          <a:p>
            <a:pPr marL="0" marR="0" lvl="0" indent="0" algn="ctr" defTabSz="342900" rtl="0" eaLnBrk="1" fontAlgn="auto" latinLnBrk="0" hangingPunct="1">
              <a:lnSpc>
                <a:spcPts val="1620"/>
              </a:lnSpc>
              <a:spcBef>
                <a:spcPts val="0"/>
              </a:spcBef>
              <a:spcAft>
                <a:spcPts val="0"/>
              </a:spcAft>
              <a:buClrTx/>
              <a:buSzTx/>
              <a:buFontTx/>
              <a:buNone/>
              <a:tabLst/>
              <a:defRPr/>
            </a:pPr>
            <a:r>
              <a:rPr kumimoji="0" lang="en-US" sz="1600" b="1" i="0" u="none" strike="noStrike" kern="1200" cap="none" spc="-11"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rPr>
              <a:t>Privacy</a:t>
            </a:r>
            <a:endParaRPr kumimoji="0" lang="en-US" sz="1200" b="1" i="0" u="none" strike="noStrike" kern="1200" cap="none" spc="-11" normalizeH="0" baseline="0" noProof="0" dirty="0">
              <a:ln>
                <a:noFill/>
              </a:ln>
              <a:solidFill>
                <a:schemeClr val="accent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1" name="TextBox 10">
            <a:extLst>
              <a:ext uri="{FF2B5EF4-FFF2-40B4-BE49-F238E27FC236}">
                <a16:creationId xmlns:a16="http://schemas.microsoft.com/office/drawing/2014/main" id="{C33B2879-E4E3-FD68-F583-B6F69138E5C3}"/>
              </a:ext>
            </a:extLst>
          </p:cNvPr>
          <p:cNvSpPr txBox="1"/>
          <p:nvPr/>
        </p:nvSpPr>
        <p:spPr>
          <a:xfrm>
            <a:off x="3834498" y="5135725"/>
            <a:ext cx="1983764" cy="979884"/>
          </a:xfrm>
          <a:prstGeom prst="rect">
            <a:avLst/>
          </a:prstGeom>
          <a:noFill/>
        </p:spPr>
        <p:txBody>
          <a:bodyPr wrap="square" rtlCol="0" anchor="t">
            <a:spAutoFit/>
          </a:bodyPr>
          <a:lstStyle/>
          <a:p>
            <a:pPr marL="0" marR="0" lvl="0" indent="0" algn="ctr" defTabSz="342900" rtl="0" eaLnBrk="1" fontAlgn="auto" latinLnBrk="0" hangingPunct="1">
              <a:lnSpc>
                <a:spcPts val="1350"/>
              </a:lnSpc>
              <a:spcBef>
                <a:spcPts val="0"/>
              </a:spcBef>
              <a:spcAft>
                <a:spcPts val="0"/>
              </a:spcAft>
              <a:buClrTx/>
              <a:buSzTx/>
              <a:buFontTx/>
              <a:buNone/>
              <a:tabLst/>
              <a:defRPr/>
            </a:pPr>
            <a:r>
              <a:rPr kumimoji="0" lang="en-US" sz="1100" b="0" i="0" u="none" strike="noStrike" kern="1200" cap="none" spc="-11"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Do you allow your employees to use AI?  How do you ensure company data and other sensitive information is protected?</a:t>
            </a:r>
          </a:p>
        </p:txBody>
      </p:sp>
      <p:sp>
        <p:nvSpPr>
          <p:cNvPr id="12" name="TextBox 11">
            <a:extLst>
              <a:ext uri="{FF2B5EF4-FFF2-40B4-BE49-F238E27FC236}">
                <a16:creationId xmlns:a16="http://schemas.microsoft.com/office/drawing/2014/main" id="{25F3091F-372C-FCDD-8F30-9984313C3952}"/>
              </a:ext>
            </a:extLst>
          </p:cNvPr>
          <p:cNvSpPr txBox="1"/>
          <p:nvPr/>
        </p:nvSpPr>
        <p:spPr>
          <a:xfrm>
            <a:off x="3983680" y="4836002"/>
            <a:ext cx="1685399" cy="343543"/>
          </a:xfrm>
          <a:prstGeom prst="rect">
            <a:avLst/>
          </a:prstGeom>
          <a:noFill/>
        </p:spPr>
        <p:txBody>
          <a:bodyPr wrap="none" rtlCol="0" anchor="b">
            <a:spAutoFit/>
          </a:bodyPr>
          <a:lstStyle/>
          <a:p>
            <a:pPr marL="0" marR="0" lvl="0" indent="0" algn="ctr" defTabSz="342900" rtl="0" eaLnBrk="1" fontAlgn="auto" latinLnBrk="0" hangingPunct="1">
              <a:lnSpc>
                <a:spcPts val="1620"/>
              </a:lnSpc>
              <a:spcBef>
                <a:spcPts val="0"/>
              </a:spcBef>
              <a:spcAft>
                <a:spcPts val="0"/>
              </a:spcAft>
              <a:buClrTx/>
              <a:buSzTx/>
              <a:buFontTx/>
              <a:buNone/>
              <a:tabLst/>
              <a:defRPr/>
            </a:pPr>
            <a:r>
              <a:rPr kumimoji="0" lang="en-US" sz="1600" b="1" i="0" u="none" strike="noStrike" kern="1200" cap="none" spc="-11" normalizeH="0" baseline="0" noProof="0" dirty="0">
                <a:ln>
                  <a:noFill/>
                </a:ln>
                <a:solidFill>
                  <a:srgbClr val="ED7D31"/>
                </a:solidFill>
                <a:effectLst/>
                <a:uLnTx/>
                <a:uFillTx/>
                <a:latin typeface="Open Sans" panose="020B0606030504020204" pitchFamily="34" charset="0"/>
                <a:ea typeface="Open Sans" panose="020B0606030504020204" pitchFamily="34" charset="0"/>
                <a:cs typeface="Open Sans" panose="020B0606030504020204" pitchFamily="34" charset="0"/>
              </a:rPr>
              <a:t>Employment</a:t>
            </a:r>
            <a:endParaRPr kumimoji="0" lang="en-US" sz="1400" b="1" i="0" u="none" strike="noStrike" kern="1200" cap="none" spc="-11" normalizeH="0" baseline="0" noProof="0" dirty="0">
              <a:ln>
                <a:noFill/>
              </a:ln>
              <a:solidFill>
                <a:srgbClr val="ED7D31"/>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Box 12">
            <a:extLst>
              <a:ext uri="{FF2B5EF4-FFF2-40B4-BE49-F238E27FC236}">
                <a16:creationId xmlns:a16="http://schemas.microsoft.com/office/drawing/2014/main" id="{19D17ED6-B754-4F44-D8E0-DA9FC354B145}"/>
              </a:ext>
            </a:extLst>
          </p:cNvPr>
          <p:cNvSpPr txBox="1"/>
          <p:nvPr/>
        </p:nvSpPr>
        <p:spPr>
          <a:xfrm>
            <a:off x="4923777" y="2020142"/>
            <a:ext cx="2188150" cy="441275"/>
          </a:xfrm>
          <a:prstGeom prst="rect">
            <a:avLst/>
          </a:prstGeom>
          <a:noFill/>
        </p:spPr>
        <p:txBody>
          <a:bodyPr wrap="square" rtlCol="0" anchor="t">
            <a:spAutoFit/>
          </a:bodyPr>
          <a:lstStyle/>
          <a:p>
            <a:pPr marL="0" marR="0" lvl="0" indent="0" algn="ctr" defTabSz="342900" rtl="0" eaLnBrk="1" fontAlgn="auto" latinLnBrk="0" hangingPunct="1">
              <a:lnSpc>
                <a:spcPts val="1350"/>
              </a:lnSpc>
              <a:spcBef>
                <a:spcPts val="0"/>
              </a:spcBef>
              <a:spcAft>
                <a:spcPts val="0"/>
              </a:spcAft>
              <a:buClrTx/>
              <a:buSzTx/>
              <a:buFontTx/>
              <a:buNone/>
              <a:tabLst/>
              <a:defRPr/>
            </a:pPr>
            <a:r>
              <a:rPr kumimoji="0" lang="en-US" sz="1100" b="0" i="0" u="none" strike="noStrike" kern="1200" cap="none" spc="-11"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Who has rights in the output generated by AI?  </a:t>
            </a:r>
          </a:p>
        </p:txBody>
      </p:sp>
      <p:sp>
        <p:nvSpPr>
          <p:cNvPr id="14" name="TextBox 13">
            <a:extLst>
              <a:ext uri="{FF2B5EF4-FFF2-40B4-BE49-F238E27FC236}">
                <a16:creationId xmlns:a16="http://schemas.microsoft.com/office/drawing/2014/main" id="{FE1C2AF0-6A94-6F5B-81B9-2A950662004E}"/>
              </a:ext>
            </a:extLst>
          </p:cNvPr>
          <p:cNvSpPr txBox="1"/>
          <p:nvPr/>
        </p:nvSpPr>
        <p:spPr>
          <a:xfrm>
            <a:off x="4877997" y="1745155"/>
            <a:ext cx="2279727" cy="299249"/>
          </a:xfrm>
          <a:prstGeom prst="rect">
            <a:avLst/>
          </a:prstGeom>
          <a:noFill/>
        </p:spPr>
        <p:txBody>
          <a:bodyPr wrap="none" rtlCol="0" anchor="b">
            <a:spAutoFit/>
          </a:bodyPr>
          <a:lstStyle/>
          <a:p>
            <a:pPr marL="0" marR="0" lvl="0" indent="0" algn="ctr" defTabSz="342900" rtl="0" eaLnBrk="1" fontAlgn="auto" latinLnBrk="0" hangingPunct="1">
              <a:lnSpc>
                <a:spcPts val="1620"/>
              </a:lnSpc>
              <a:spcBef>
                <a:spcPts val="0"/>
              </a:spcBef>
              <a:spcAft>
                <a:spcPts val="0"/>
              </a:spcAft>
              <a:buClrTx/>
              <a:buSzTx/>
              <a:buFontTx/>
              <a:buNone/>
              <a:tabLst/>
              <a:defRPr/>
            </a:pPr>
            <a:r>
              <a:rPr kumimoji="0" lang="en-US" sz="1600" b="1" i="0" u="none" strike="noStrike" kern="1200" cap="none" spc="-11" normalizeH="0" baseline="0" noProof="0" dirty="0">
                <a:ln>
                  <a:noFill/>
                </a:ln>
                <a:solidFill>
                  <a:schemeClr val="accent3"/>
                </a:solidFill>
                <a:effectLst/>
                <a:uLnTx/>
                <a:uFillTx/>
                <a:latin typeface="Open Sans" panose="020B0606030504020204" pitchFamily="34" charset="0"/>
                <a:ea typeface="Open Sans" panose="020B0606030504020204" pitchFamily="34" charset="0"/>
                <a:cs typeface="Open Sans" panose="020B0606030504020204" pitchFamily="34" charset="0"/>
              </a:rPr>
              <a:t>Intellectual Property</a:t>
            </a:r>
          </a:p>
        </p:txBody>
      </p:sp>
      <p:sp>
        <p:nvSpPr>
          <p:cNvPr id="15" name="TextBox 14">
            <a:extLst>
              <a:ext uri="{FF2B5EF4-FFF2-40B4-BE49-F238E27FC236}">
                <a16:creationId xmlns:a16="http://schemas.microsoft.com/office/drawing/2014/main" id="{7447A9B2-A27D-8253-54E5-B77EA87C546B}"/>
              </a:ext>
            </a:extLst>
          </p:cNvPr>
          <p:cNvSpPr txBox="1"/>
          <p:nvPr/>
        </p:nvSpPr>
        <p:spPr>
          <a:xfrm>
            <a:off x="7588152" y="1968140"/>
            <a:ext cx="1983764" cy="441275"/>
          </a:xfrm>
          <a:prstGeom prst="rect">
            <a:avLst/>
          </a:prstGeom>
          <a:noFill/>
        </p:spPr>
        <p:txBody>
          <a:bodyPr wrap="square" rtlCol="0" anchor="t">
            <a:spAutoFit/>
          </a:bodyPr>
          <a:lstStyle/>
          <a:p>
            <a:pPr marL="0" marR="0" lvl="0" indent="0" algn="ctr" defTabSz="342900" rtl="0" eaLnBrk="1" fontAlgn="auto" latinLnBrk="0" hangingPunct="1">
              <a:lnSpc>
                <a:spcPts val="1350"/>
              </a:lnSpc>
              <a:spcBef>
                <a:spcPts val="0"/>
              </a:spcBef>
              <a:spcAft>
                <a:spcPts val="0"/>
              </a:spcAft>
              <a:buClrTx/>
              <a:buSzTx/>
              <a:buFontTx/>
              <a:buNone/>
              <a:tabLst/>
              <a:defRPr/>
            </a:pPr>
            <a:r>
              <a:rPr kumimoji="0" lang="en-US" sz="1100" b="0" i="0" u="none" strike="noStrike" kern="1200" cap="none" spc="-11"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Vendors using AI to analyze company data</a:t>
            </a:r>
          </a:p>
        </p:txBody>
      </p:sp>
      <p:sp>
        <p:nvSpPr>
          <p:cNvPr id="16" name="TextBox 15">
            <a:extLst>
              <a:ext uri="{FF2B5EF4-FFF2-40B4-BE49-F238E27FC236}">
                <a16:creationId xmlns:a16="http://schemas.microsoft.com/office/drawing/2014/main" id="{175216DD-8CC4-1BDD-B299-4F6D833FC146}"/>
              </a:ext>
            </a:extLst>
          </p:cNvPr>
          <p:cNvSpPr txBox="1"/>
          <p:nvPr/>
        </p:nvSpPr>
        <p:spPr>
          <a:xfrm>
            <a:off x="7936739" y="1732794"/>
            <a:ext cx="1164934" cy="299249"/>
          </a:xfrm>
          <a:prstGeom prst="rect">
            <a:avLst/>
          </a:prstGeom>
          <a:noFill/>
        </p:spPr>
        <p:txBody>
          <a:bodyPr wrap="none" rtlCol="0" anchor="b">
            <a:spAutoFit/>
          </a:bodyPr>
          <a:lstStyle/>
          <a:p>
            <a:pPr marL="0" marR="0" lvl="0" indent="0" algn="ctr" defTabSz="342900" rtl="0" eaLnBrk="1" fontAlgn="auto" latinLnBrk="0" hangingPunct="1">
              <a:lnSpc>
                <a:spcPts val="1620"/>
              </a:lnSpc>
              <a:spcBef>
                <a:spcPts val="0"/>
              </a:spcBef>
              <a:spcAft>
                <a:spcPts val="0"/>
              </a:spcAft>
              <a:buClrTx/>
              <a:buSzTx/>
              <a:buFontTx/>
              <a:buNone/>
              <a:tabLst/>
              <a:defRPr/>
            </a:pPr>
            <a:r>
              <a:rPr kumimoji="0" lang="en-US" sz="1600" b="1" i="0" u="none" strike="noStrike" kern="1200" cap="none" spc="-11" normalizeH="0" baseline="0" noProof="0" dirty="0">
                <a:ln>
                  <a:noFill/>
                </a:ln>
                <a:solidFill>
                  <a:schemeClr val="accent4"/>
                </a:solidFill>
                <a:effectLst/>
                <a:uLnTx/>
                <a:uFillTx/>
                <a:latin typeface="Open Sans" panose="020B0606030504020204" pitchFamily="34" charset="0"/>
                <a:ea typeface="Open Sans" panose="020B0606030504020204" pitchFamily="34" charset="0"/>
                <a:cs typeface="Open Sans" panose="020B0606030504020204" pitchFamily="34" charset="0"/>
              </a:rPr>
              <a:t>Contracts</a:t>
            </a:r>
          </a:p>
        </p:txBody>
      </p:sp>
      <p:sp>
        <p:nvSpPr>
          <p:cNvPr id="17" name="TextBox 16">
            <a:extLst>
              <a:ext uri="{FF2B5EF4-FFF2-40B4-BE49-F238E27FC236}">
                <a16:creationId xmlns:a16="http://schemas.microsoft.com/office/drawing/2014/main" id="{224F1C8B-CE39-62D0-DF2D-6A13E1B37E29}"/>
              </a:ext>
            </a:extLst>
          </p:cNvPr>
          <p:cNvSpPr txBox="1"/>
          <p:nvPr/>
        </p:nvSpPr>
        <p:spPr>
          <a:xfrm>
            <a:off x="7279200" y="5824284"/>
            <a:ext cx="2439335" cy="441275"/>
          </a:xfrm>
          <a:prstGeom prst="rect">
            <a:avLst/>
          </a:prstGeom>
          <a:noFill/>
        </p:spPr>
        <p:txBody>
          <a:bodyPr wrap="square" rtlCol="0" anchor="t">
            <a:spAutoFit/>
          </a:bodyPr>
          <a:lstStyle/>
          <a:p>
            <a:pPr marL="0" marR="0" lvl="0" indent="0" algn="ctr" defTabSz="342900" rtl="0" eaLnBrk="1" fontAlgn="auto" latinLnBrk="0" hangingPunct="1">
              <a:lnSpc>
                <a:spcPts val="1350"/>
              </a:lnSpc>
              <a:spcBef>
                <a:spcPts val="0"/>
              </a:spcBef>
              <a:spcAft>
                <a:spcPts val="0"/>
              </a:spcAft>
              <a:buClrTx/>
              <a:buSzTx/>
              <a:buFontTx/>
              <a:buNone/>
              <a:tabLst/>
              <a:defRPr/>
            </a:pPr>
            <a:r>
              <a:rPr kumimoji="0" lang="en-US" sz="1100" b="0" i="0" u="none" strike="noStrike" kern="1200" cap="none" spc="-11"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rPr>
              <a:t>Bad actors are using AI to launch more sophisticated cyberattacks</a:t>
            </a:r>
          </a:p>
        </p:txBody>
      </p:sp>
      <p:sp>
        <p:nvSpPr>
          <p:cNvPr id="18" name="TextBox 17">
            <a:extLst>
              <a:ext uri="{FF2B5EF4-FFF2-40B4-BE49-F238E27FC236}">
                <a16:creationId xmlns:a16="http://schemas.microsoft.com/office/drawing/2014/main" id="{CEB4F715-E24E-F9E3-8450-B3EA1F70AD89}"/>
              </a:ext>
            </a:extLst>
          </p:cNvPr>
          <p:cNvSpPr txBox="1"/>
          <p:nvPr/>
        </p:nvSpPr>
        <p:spPr>
          <a:xfrm>
            <a:off x="7705573" y="5525035"/>
            <a:ext cx="1586588" cy="299249"/>
          </a:xfrm>
          <a:prstGeom prst="rect">
            <a:avLst/>
          </a:prstGeom>
          <a:noFill/>
        </p:spPr>
        <p:txBody>
          <a:bodyPr wrap="none" rtlCol="0" anchor="b">
            <a:spAutoFit/>
          </a:bodyPr>
          <a:lstStyle/>
          <a:p>
            <a:pPr marL="0" marR="0" lvl="0" indent="0" algn="ctr" defTabSz="342900" rtl="0" eaLnBrk="1" fontAlgn="auto" latinLnBrk="0" hangingPunct="1">
              <a:lnSpc>
                <a:spcPts val="1620"/>
              </a:lnSpc>
              <a:spcBef>
                <a:spcPts val="0"/>
              </a:spcBef>
              <a:spcAft>
                <a:spcPts val="0"/>
              </a:spcAft>
              <a:buClrTx/>
              <a:buSzTx/>
              <a:buFontTx/>
              <a:buNone/>
              <a:tabLst/>
              <a:defRPr/>
            </a:pPr>
            <a:r>
              <a:rPr kumimoji="0" lang="en-US" sz="1600" b="1" i="0" u="none" strike="noStrike" kern="1200" cap="none" spc="-11" normalizeH="0" baseline="0" noProof="0" dirty="0">
                <a:ln>
                  <a:noFill/>
                </a:ln>
                <a:solidFill>
                  <a:schemeClr val="accent6"/>
                </a:solidFill>
                <a:effectLst/>
                <a:uLnTx/>
                <a:uFillTx/>
                <a:latin typeface="Open Sans" panose="020B0606030504020204" pitchFamily="34" charset="0"/>
                <a:ea typeface="Open Sans" panose="020B0606030504020204" pitchFamily="34" charset="0"/>
                <a:cs typeface="Open Sans" panose="020B0606030504020204" pitchFamily="34" charset="0"/>
              </a:rPr>
              <a:t>Cybersecurity</a:t>
            </a:r>
          </a:p>
        </p:txBody>
      </p:sp>
      <p:grpSp>
        <p:nvGrpSpPr>
          <p:cNvPr id="19" name="Group 18">
            <a:extLst>
              <a:ext uri="{FF2B5EF4-FFF2-40B4-BE49-F238E27FC236}">
                <a16:creationId xmlns:a16="http://schemas.microsoft.com/office/drawing/2014/main" id="{AA239C16-D43C-5A0C-10BD-77823A8BFC60}"/>
              </a:ext>
            </a:extLst>
          </p:cNvPr>
          <p:cNvGrpSpPr/>
          <p:nvPr/>
        </p:nvGrpSpPr>
        <p:grpSpPr>
          <a:xfrm>
            <a:off x="2693577" y="2768372"/>
            <a:ext cx="6884355" cy="2229283"/>
            <a:chOff x="287122" y="1998644"/>
            <a:chExt cx="8372274" cy="2711099"/>
          </a:xfrm>
        </p:grpSpPr>
        <p:sp>
          <p:nvSpPr>
            <p:cNvPr id="20" name="Freeform 2">
              <a:extLst>
                <a:ext uri="{FF2B5EF4-FFF2-40B4-BE49-F238E27FC236}">
                  <a16:creationId xmlns:a16="http://schemas.microsoft.com/office/drawing/2014/main" id="{59970C25-2706-D449-5A92-7F4D197A9A8B}"/>
                </a:ext>
              </a:extLst>
            </p:cNvPr>
            <p:cNvSpPr>
              <a:spLocks noChangeArrowheads="1"/>
            </p:cNvSpPr>
            <p:nvPr/>
          </p:nvSpPr>
          <p:spPr bwMode="auto">
            <a:xfrm>
              <a:off x="287122" y="2907837"/>
              <a:ext cx="2101309" cy="1796413"/>
            </a:xfrm>
            <a:custGeom>
              <a:avLst/>
              <a:gdLst>
                <a:gd name="T0" fmla="*/ 3009 w 3372"/>
                <a:gd name="T1" fmla="*/ 894 h 2885"/>
                <a:gd name="T2" fmla="*/ 3018 w 3372"/>
                <a:gd name="T3" fmla="*/ 832 h 2885"/>
                <a:gd name="T4" fmla="*/ 3020 w 3372"/>
                <a:gd name="T5" fmla="*/ 827 h 2885"/>
                <a:gd name="T6" fmla="*/ 3103 w 3372"/>
                <a:gd name="T7" fmla="*/ 774 h 2885"/>
                <a:gd name="T8" fmla="*/ 3206 w 3372"/>
                <a:gd name="T9" fmla="*/ 761 h 2885"/>
                <a:gd name="T10" fmla="*/ 3284 w 3372"/>
                <a:gd name="T11" fmla="*/ 732 h 2885"/>
                <a:gd name="T12" fmla="*/ 3292 w 3372"/>
                <a:gd name="T13" fmla="*/ 726 h 2885"/>
                <a:gd name="T14" fmla="*/ 3346 w 3372"/>
                <a:gd name="T15" fmla="*/ 671 h 2885"/>
                <a:gd name="T16" fmla="*/ 3349 w 3372"/>
                <a:gd name="T17" fmla="*/ 665 h 2885"/>
                <a:gd name="T18" fmla="*/ 3352 w 3372"/>
                <a:gd name="T19" fmla="*/ 659 h 2885"/>
                <a:gd name="T20" fmla="*/ 3354 w 3372"/>
                <a:gd name="T21" fmla="*/ 655 h 2885"/>
                <a:gd name="T22" fmla="*/ 3355 w 3372"/>
                <a:gd name="T23" fmla="*/ 653 h 2885"/>
                <a:gd name="T24" fmla="*/ 3364 w 3372"/>
                <a:gd name="T25" fmla="*/ 622 h 2885"/>
                <a:gd name="T26" fmla="*/ 3331 w 3372"/>
                <a:gd name="T27" fmla="*/ 477 h 2885"/>
                <a:gd name="T28" fmla="*/ 3211 w 3372"/>
                <a:gd name="T29" fmla="*/ 373 h 2885"/>
                <a:gd name="T30" fmla="*/ 3138 w 3372"/>
                <a:gd name="T31" fmla="*/ 370 h 2885"/>
                <a:gd name="T32" fmla="*/ 3088 w 3372"/>
                <a:gd name="T33" fmla="*/ 390 h 2885"/>
                <a:gd name="T34" fmla="*/ 2960 w 3372"/>
                <a:gd name="T35" fmla="*/ 527 h 2885"/>
                <a:gd name="T36" fmla="*/ 2873 w 3372"/>
                <a:gd name="T37" fmla="*/ 572 h 2885"/>
                <a:gd name="T38" fmla="*/ 2867 w 3372"/>
                <a:gd name="T39" fmla="*/ 571 h 2885"/>
                <a:gd name="T40" fmla="*/ 2818 w 3372"/>
                <a:gd name="T41" fmla="*/ 554 h 2885"/>
                <a:gd name="T42" fmla="*/ 2813 w 3372"/>
                <a:gd name="T43" fmla="*/ 549 h 2885"/>
                <a:gd name="T44" fmla="*/ 2812 w 3372"/>
                <a:gd name="T45" fmla="*/ 546 h 2885"/>
                <a:gd name="T46" fmla="*/ 2805 w 3372"/>
                <a:gd name="T47" fmla="*/ 541 h 2885"/>
                <a:gd name="T48" fmla="*/ 2492 w 3372"/>
                <a:gd name="T49" fmla="*/ 0 h 2885"/>
                <a:gd name="T50" fmla="*/ 521 w 3372"/>
                <a:gd name="T51" fmla="*/ 541 h 2885"/>
                <a:gd name="T52" fmla="*/ 527 w 3372"/>
                <a:gd name="T53" fmla="*/ 581 h 2885"/>
                <a:gd name="T54" fmla="*/ 528 w 3372"/>
                <a:gd name="T55" fmla="*/ 582 h 2885"/>
                <a:gd name="T56" fmla="*/ 529 w 3372"/>
                <a:gd name="T57" fmla="*/ 585 h 2885"/>
                <a:gd name="T58" fmla="*/ 587 w 3372"/>
                <a:gd name="T59" fmla="*/ 622 h 2885"/>
                <a:gd name="T60" fmla="*/ 786 w 3372"/>
                <a:gd name="T61" fmla="*/ 668 h 2885"/>
                <a:gd name="T62" fmla="*/ 836 w 3372"/>
                <a:gd name="T63" fmla="*/ 708 h 2885"/>
                <a:gd name="T64" fmla="*/ 878 w 3372"/>
                <a:gd name="T65" fmla="*/ 787 h 2885"/>
                <a:gd name="T66" fmla="*/ 845 w 3372"/>
                <a:gd name="T67" fmla="*/ 968 h 2885"/>
                <a:gd name="T68" fmla="*/ 719 w 3372"/>
                <a:gd name="T69" fmla="*/ 1084 h 2885"/>
                <a:gd name="T70" fmla="*/ 677 w 3372"/>
                <a:gd name="T71" fmla="*/ 1095 h 2885"/>
                <a:gd name="T72" fmla="*/ 672 w 3372"/>
                <a:gd name="T73" fmla="*/ 1095 h 2885"/>
                <a:gd name="T74" fmla="*/ 671 w 3372"/>
                <a:gd name="T75" fmla="*/ 1095 h 2885"/>
                <a:gd name="T76" fmla="*/ 663 w 3372"/>
                <a:gd name="T77" fmla="*/ 1096 h 2885"/>
                <a:gd name="T78" fmla="*/ 656 w 3372"/>
                <a:gd name="T79" fmla="*/ 1096 h 2885"/>
                <a:gd name="T80" fmla="*/ 565 w 3372"/>
                <a:gd name="T81" fmla="*/ 1073 h 2885"/>
                <a:gd name="T82" fmla="*/ 556 w 3372"/>
                <a:gd name="T83" fmla="*/ 1068 h 2885"/>
                <a:gd name="T84" fmla="*/ 414 w 3372"/>
                <a:gd name="T85" fmla="*/ 922 h 2885"/>
                <a:gd name="T86" fmla="*/ 351 w 3372"/>
                <a:gd name="T87" fmla="*/ 891 h 2885"/>
                <a:gd name="T88" fmla="*/ 309 w 3372"/>
                <a:gd name="T89" fmla="*/ 907 h 2885"/>
                <a:gd name="T90" fmla="*/ 833 w 3372"/>
                <a:gd name="T91" fmla="*/ 2884 h 2885"/>
                <a:gd name="T92" fmla="*/ 3326 w 3372"/>
                <a:gd name="T93" fmla="*/ 1446 h 2885"/>
                <a:gd name="T94" fmla="*/ 3010 w 3372"/>
                <a:gd name="T95" fmla="*/ 899 h 2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72" h="2885">
                  <a:moveTo>
                    <a:pt x="3009" y="894"/>
                  </a:moveTo>
                  <a:lnTo>
                    <a:pt x="3009" y="894"/>
                  </a:lnTo>
                  <a:cubicBezTo>
                    <a:pt x="3005" y="873"/>
                    <a:pt x="3008" y="852"/>
                    <a:pt x="3017" y="833"/>
                  </a:cubicBezTo>
                  <a:lnTo>
                    <a:pt x="3018" y="832"/>
                  </a:lnTo>
                  <a:lnTo>
                    <a:pt x="3018" y="832"/>
                  </a:lnTo>
                  <a:cubicBezTo>
                    <a:pt x="3018" y="830"/>
                    <a:pt x="3019" y="828"/>
                    <a:pt x="3020" y="827"/>
                  </a:cubicBezTo>
                  <a:lnTo>
                    <a:pt x="3020" y="827"/>
                  </a:lnTo>
                  <a:cubicBezTo>
                    <a:pt x="3037" y="796"/>
                    <a:pt x="3068" y="776"/>
                    <a:pt x="3103" y="774"/>
                  </a:cubicBezTo>
                  <a:lnTo>
                    <a:pt x="3103" y="774"/>
                  </a:lnTo>
                  <a:cubicBezTo>
                    <a:pt x="3140" y="772"/>
                    <a:pt x="3175" y="768"/>
                    <a:pt x="3206" y="761"/>
                  </a:cubicBezTo>
                  <a:lnTo>
                    <a:pt x="3206" y="761"/>
                  </a:lnTo>
                  <a:cubicBezTo>
                    <a:pt x="3237" y="753"/>
                    <a:pt x="3264" y="743"/>
                    <a:pt x="3284" y="732"/>
                  </a:cubicBezTo>
                  <a:lnTo>
                    <a:pt x="3284" y="732"/>
                  </a:lnTo>
                  <a:cubicBezTo>
                    <a:pt x="3287" y="730"/>
                    <a:pt x="3290" y="728"/>
                    <a:pt x="3292" y="726"/>
                  </a:cubicBezTo>
                  <a:lnTo>
                    <a:pt x="3292" y="726"/>
                  </a:lnTo>
                  <a:cubicBezTo>
                    <a:pt x="3316" y="711"/>
                    <a:pt x="3334" y="693"/>
                    <a:pt x="3346" y="671"/>
                  </a:cubicBezTo>
                  <a:lnTo>
                    <a:pt x="3346" y="671"/>
                  </a:lnTo>
                  <a:cubicBezTo>
                    <a:pt x="3347" y="669"/>
                    <a:pt x="3348" y="668"/>
                    <a:pt x="3349" y="665"/>
                  </a:cubicBezTo>
                  <a:lnTo>
                    <a:pt x="3352" y="659"/>
                  </a:lnTo>
                  <a:lnTo>
                    <a:pt x="3352" y="659"/>
                  </a:lnTo>
                  <a:cubicBezTo>
                    <a:pt x="3353" y="658"/>
                    <a:pt x="3353" y="657"/>
                    <a:pt x="3354" y="655"/>
                  </a:cubicBezTo>
                  <a:lnTo>
                    <a:pt x="3354" y="655"/>
                  </a:lnTo>
                  <a:lnTo>
                    <a:pt x="3355" y="653"/>
                  </a:lnTo>
                  <a:lnTo>
                    <a:pt x="3355" y="653"/>
                  </a:lnTo>
                  <a:cubicBezTo>
                    <a:pt x="3359" y="644"/>
                    <a:pt x="3362" y="633"/>
                    <a:pt x="3364" y="622"/>
                  </a:cubicBezTo>
                  <a:lnTo>
                    <a:pt x="3364" y="622"/>
                  </a:lnTo>
                  <a:cubicBezTo>
                    <a:pt x="3371" y="578"/>
                    <a:pt x="3359" y="526"/>
                    <a:pt x="3331" y="477"/>
                  </a:cubicBezTo>
                  <a:lnTo>
                    <a:pt x="3331" y="477"/>
                  </a:lnTo>
                  <a:cubicBezTo>
                    <a:pt x="3299" y="422"/>
                    <a:pt x="3257" y="386"/>
                    <a:pt x="3211" y="373"/>
                  </a:cubicBezTo>
                  <a:lnTo>
                    <a:pt x="3211" y="373"/>
                  </a:lnTo>
                  <a:cubicBezTo>
                    <a:pt x="3187" y="365"/>
                    <a:pt x="3162" y="365"/>
                    <a:pt x="3138" y="370"/>
                  </a:cubicBezTo>
                  <a:lnTo>
                    <a:pt x="3138" y="370"/>
                  </a:lnTo>
                  <a:cubicBezTo>
                    <a:pt x="3120" y="374"/>
                    <a:pt x="3104" y="381"/>
                    <a:pt x="3088" y="390"/>
                  </a:cubicBezTo>
                  <a:lnTo>
                    <a:pt x="3088" y="390"/>
                  </a:lnTo>
                  <a:cubicBezTo>
                    <a:pt x="3048" y="412"/>
                    <a:pt x="3001" y="464"/>
                    <a:pt x="2960" y="527"/>
                  </a:cubicBezTo>
                  <a:lnTo>
                    <a:pt x="2960" y="527"/>
                  </a:lnTo>
                  <a:cubicBezTo>
                    <a:pt x="2941" y="556"/>
                    <a:pt x="2908" y="573"/>
                    <a:pt x="2873" y="572"/>
                  </a:cubicBezTo>
                  <a:lnTo>
                    <a:pt x="2873" y="572"/>
                  </a:lnTo>
                  <a:cubicBezTo>
                    <a:pt x="2872" y="572"/>
                    <a:pt x="2870" y="572"/>
                    <a:pt x="2868" y="572"/>
                  </a:cubicBezTo>
                  <a:lnTo>
                    <a:pt x="2867" y="571"/>
                  </a:lnTo>
                  <a:lnTo>
                    <a:pt x="2867" y="571"/>
                  </a:lnTo>
                  <a:cubicBezTo>
                    <a:pt x="2849" y="570"/>
                    <a:pt x="2832" y="564"/>
                    <a:pt x="2818" y="554"/>
                  </a:cubicBezTo>
                  <a:lnTo>
                    <a:pt x="2818" y="554"/>
                  </a:lnTo>
                  <a:cubicBezTo>
                    <a:pt x="2816" y="553"/>
                    <a:pt x="2814" y="551"/>
                    <a:pt x="2813" y="549"/>
                  </a:cubicBezTo>
                  <a:lnTo>
                    <a:pt x="2812" y="546"/>
                  </a:lnTo>
                  <a:lnTo>
                    <a:pt x="2812" y="546"/>
                  </a:lnTo>
                  <a:cubicBezTo>
                    <a:pt x="2809" y="544"/>
                    <a:pt x="2807" y="543"/>
                    <a:pt x="2805" y="541"/>
                  </a:cubicBezTo>
                  <a:lnTo>
                    <a:pt x="2805" y="541"/>
                  </a:lnTo>
                  <a:cubicBezTo>
                    <a:pt x="2804" y="540"/>
                    <a:pt x="2803" y="538"/>
                    <a:pt x="2802" y="537"/>
                  </a:cubicBezTo>
                  <a:lnTo>
                    <a:pt x="2492" y="0"/>
                  </a:lnTo>
                  <a:lnTo>
                    <a:pt x="832" y="1"/>
                  </a:lnTo>
                  <a:lnTo>
                    <a:pt x="521" y="541"/>
                  </a:lnTo>
                  <a:lnTo>
                    <a:pt x="521" y="541"/>
                  </a:lnTo>
                  <a:cubicBezTo>
                    <a:pt x="519" y="554"/>
                    <a:pt x="521" y="568"/>
                    <a:pt x="527" y="581"/>
                  </a:cubicBezTo>
                  <a:lnTo>
                    <a:pt x="528" y="582"/>
                  </a:lnTo>
                  <a:lnTo>
                    <a:pt x="528" y="582"/>
                  </a:lnTo>
                  <a:cubicBezTo>
                    <a:pt x="528" y="584"/>
                    <a:pt x="529" y="584"/>
                    <a:pt x="529" y="585"/>
                  </a:cubicBezTo>
                  <a:lnTo>
                    <a:pt x="529" y="585"/>
                  </a:lnTo>
                  <a:cubicBezTo>
                    <a:pt x="541" y="607"/>
                    <a:pt x="562" y="620"/>
                    <a:pt x="587" y="622"/>
                  </a:cubicBezTo>
                  <a:lnTo>
                    <a:pt x="587" y="622"/>
                  </a:lnTo>
                  <a:cubicBezTo>
                    <a:pt x="668" y="626"/>
                    <a:pt x="743" y="644"/>
                    <a:pt x="786" y="668"/>
                  </a:cubicBezTo>
                  <a:lnTo>
                    <a:pt x="786" y="668"/>
                  </a:lnTo>
                  <a:cubicBezTo>
                    <a:pt x="805" y="680"/>
                    <a:pt x="822" y="693"/>
                    <a:pt x="836" y="708"/>
                  </a:cubicBezTo>
                  <a:lnTo>
                    <a:pt x="836" y="708"/>
                  </a:lnTo>
                  <a:cubicBezTo>
                    <a:pt x="857" y="731"/>
                    <a:pt x="871" y="757"/>
                    <a:pt x="878" y="787"/>
                  </a:cubicBezTo>
                  <a:lnTo>
                    <a:pt x="878" y="787"/>
                  </a:lnTo>
                  <a:cubicBezTo>
                    <a:pt x="892" y="843"/>
                    <a:pt x="881" y="906"/>
                    <a:pt x="845" y="968"/>
                  </a:cubicBezTo>
                  <a:lnTo>
                    <a:pt x="845" y="968"/>
                  </a:lnTo>
                  <a:cubicBezTo>
                    <a:pt x="813" y="1024"/>
                    <a:pt x="768" y="1066"/>
                    <a:pt x="719" y="1084"/>
                  </a:cubicBezTo>
                  <a:lnTo>
                    <a:pt x="719" y="1084"/>
                  </a:lnTo>
                  <a:cubicBezTo>
                    <a:pt x="706" y="1089"/>
                    <a:pt x="693" y="1093"/>
                    <a:pt x="680" y="1094"/>
                  </a:cubicBezTo>
                  <a:lnTo>
                    <a:pt x="677" y="1095"/>
                  </a:lnTo>
                  <a:lnTo>
                    <a:pt x="677" y="1095"/>
                  </a:lnTo>
                  <a:cubicBezTo>
                    <a:pt x="676" y="1095"/>
                    <a:pt x="674" y="1095"/>
                    <a:pt x="672" y="1095"/>
                  </a:cubicBezTo>
                  <a:lnTo>
                    <a:pt x="671" y="1095"/>
                  </a:lnTo>
                  <a:lnTo>
                    <a:pt x="671" y="1095"/>
                  </a:lnTo>
                  <a:cubicBezTo>
                    <a:pt x="669" y="1095"/>
                    <a:pt x="668" y="1095"/>
                    <a:pt x="667" y="1095"/>
                  </a:cubicBezTo>
                  <a:lnTo>
                    <a:pt x="663" y="1096"/>
                  </a:lnTo>
                  <a:lnTo>
                    <a:pt x="663" y="1096"/>
                  </a:lnTo>
                  <a:cubicBezTo>
                    <a:pt x="661" y="1096"/>
                    <a:pt x="658" y="1096"/>
                    <a:pt x="656" y="1096"/>
                  </a:cubicBezTo>
                  <a:lnTo>
                    <a:pt x="656" y="1096"/>
                  </a:lnTo>
                  <a:cubicBezTo>
                    <a:pt x="625" y="1096"/>
                    <a:pt x="595" y="1089"/>
                    <a:pt x="565" y="1073"/>
                  </a:cubicBezTo>
                  <a:lnTo>
                    <a:pt x="565" y="1073"/>
                  </a:lnTo>
                  <a:cubicBezTo>
                    <a:pt x="562" y="1072"/>
                    <a:pt x="559" y="1071"/>
                    <a:pt x="556" y="1068"/>
                  </a:cubicBezTo>
                  <a:lnTo>
                    <a:pt x="556" y="1068"/>
                  </a:lnTo>
                  <a:cubicBezTo>
                    <a:pt x="512" y="1043"/>
                    <a:pt x="458" y="989"/>
                    <a:pt x="414" y="922"/>
                  </a:cubicBezTo>
                  <a:lnTo>
                    <a:pt x="414" y="922"/>
                  </a:lnTo>
                  <a:cubicBezTo>
                    <a:pt x="400" y="902"/>
                    <a:pt x="376" y="890"/>
                    <a:pt x="351" y="891"/>
                  </a:cubicBezTo>
                  <a:lnTo>
                    <a:pt x="351" y="891"/>
                  </a:lnTo>
                  <a:cubicBezTo>
                    <a:pt x="336" y="891"/>
                    <a:pt x="321" y="897"/>
                    <a:pt x="309" y="907"/>
                  </a:cubicBezTo>
                  <a:lnTo>
                    <a:pt x="0" y="1443"/>
                  </a:lnTo>
                  <a:lnTo>
                    <a:pt x="833" y="2884"/>
                  </a:lnTo>
                  <a:lnTo>
                    <a:pt x="2497" y="2883"/>
                  </a:lnTo>
                  <a:lnTo>
                    <a:pt x="3326" y="1446"/>
                  </a:lnTo>
                  <a:lnTo>
                    <a:pt x="3010" y="899"/>
                  </a:lnTo>
                  <a:lnTo>
                    <a:pt x="3010" y="899"/>
                  </a:lnTo>
                  <a:cubicBezTo>
                    <a:pt x="3010" y="898"/>
                    <a:pt x="3009" y="895"/>
                    <a:pt x="3009" y="894"/>
                  </a:cubicBezTo>
                </a:path>
              </a:pathLst>
            </a:custGeom>
            <a:solidFill>
              <a:schemeClr val="accent1"/>
            </a:solidFill>
            <a:ln>
              <a:noFill/>
            </a:ln>
            <a:effectLst/>
          </p:spPr>
          <p:txBody>
            <a:bodyPr wrap="none" anchor="ct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2449"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Freeform 3">
              <a:extLst>
                <a:ext uri="{FF2B5EF4-FFF2-40B4-BE49-F238E27FC236}">
                  <a16:creationId xmlns:a16="http://schemas.microsoft.com/office/drawing/2014/main" id="{AEB9104E-3E43-4D60-3585-BD86C9DDD522}"/>
                </a:ext>
              </a:extLst>
            </p:cNvPr>
            <p:cNvSpPr>
              <a:spLocks noChangeArrowheads="1"/>
            </p:cNvSpPr>
            <p:nvPr/>
          </p:nvSpPr>
          <p:spPr bwMode="auto">
            <a:xfrm>
              <a:off x="3426723" y="2907837"/>
              <a:ext cx="2098563" cy="1796413"/>
            </a:xfrm>
            <a:custGeom>
              <a:avLst/>
              <a:gdLst>
                <a:gd name="T0" fmla="*/ 520 w 3368"/>
                <a:gd name="T1" fmla="*/ 547 h 2885"/>
                <a:gd name="T2" fmla="*/ 527 w 3368"/>
                <a:gd name="T3" fmla="*/ 582 h 2885"/>
                <a:gd name="T4" fmla="*/ 585 w 3368"/>
                <a:gd name="T5" fmla="*/ 620 h 2885"/>
                <a:gd name="T6" fmla="*/ 698 w 3368"/>
                <a:gd name="T7" fmla="*/ 637 h 2885"/>
                <a:gd name="T8" fmla="*/ 783 w 3368"/>
                <a:gd name="T9" fmla="*/ 668 h 2885"/>
                <a:gd name="T10" fmla="*/ 833 w 3368"/>
                <a:gd name="T11" fmla="*/ 708 h 2885"/>
                <a:gd name="T12" fmla="*/ 876 w 3368"/>
                <a:gd name="T13" fmla="*/ 787 h 2885"/>
                <a:gd name="T14" fmla="*/ 842 w 3368"/>
                <a:gd name="T15" fmla="*/ 968 h 2885"/>
                <a:gd name="T16" fmla="*/ 716 w 3368"/>
                <a:gd name="T17" fmla="*/ 1084 h 2885"/>
                <a:gd name="T18" fmla="*/ 674 w 3368"/>
                <a:gd name="T19" fmla="*/ 1095 h 2885"/>
                <a:gd name="T20" fmla="*/ 669 w 3368"/>
                <a:gd name="T21" fmla="*/ 1095 h 2885"/>
                <a:gd name="T22" fmla="*/ 668 w 3368"/>
                <a:gd name="T23" fmla="*/ 1095 h 2885"/>
                <a:gd name="T24" fmla="*/ 660 w 3368"/>
                <a:gd name="T25" fmla="*/ 1096 h 2885"/>
                <a:gd name="T26" fmla="*/ 653 w 3368"/>
                <a:gd name="T27" fmla="*/ 1096 h 2885"/>
                <a:gd name="T28" fmla="*/ 562 w 3368"/>
                <a:gd name="T29" fmla="*/ 1073 h 2885"/>
                <a:gd name="T30" fmla="*/ 553 w 3368"/>
                <a:gd name="T31" fmla="*/ 1068 h 2885"/>
                <a:gd name="T32" fmla="*/ 411 w 3368"/>
                <a:gd name="T33" fmla="*/ 922 h 2885"/>
                <a:gd name="T34" fmla="*/ 348 w 3368"/>
                <a:gd name="T35" fmla="*/ 891 h 2885"/>
                <a:gd name="T36" fmla="*/ 315 w 3368"/>
                <a:gd name="T37" fmla="*/ 901 h 2885"/>
                <a:gd name="T38" fmla="*/ 830 w 3368"/>
                <a:gd name="T39" fmla="*/ 2884 h 2885"/>
                <a:gd name="T40" fmla="*/ 3321 w 3368"/>
                <a:gd name="T41" fmla="*/ 1448 h 2885"/>
                <a:gd name="T42" fmla="*/ 3006 w 3368"/>
                <a:gd name="T43" fmla="*/ 904 h 2885"/>
                <a:gd name="T44" fmla="*/ 3005 w 3368"/>
                <a:gd name="T45" fmla="*/ 899 h 2885"/>
                <a:gd name="T46" fmla="*/ 3014 w 3368"/>
                <a:gd name="T47" fmla="*/ 837 h 2885"/>
                <a:gd name="T48" fmla="*/ 3015 w 3368"/>
                <a:gd name="T49" fmla="*/ 833 h 2885"/>
                <a:gd name="T50" fmla="*/ 3017 w 3368"/>
                <a:gd name="T51" fmla="*/ 830 h 2885"/>
                <a:gd name="T52" fmla="*/ 3099 w 3368"/>
                <a:gd name="T53" fmla="*/ 776 h 2885"/>
                <a:gd name="T54" fmla="*/ 3280 w 3368"/>
                <a:gd name="T55" fmla="*/ 732 h 2885"/>
                <a:gd name="T56" fmla="*/ 3288 w 3368"/>
                <a:gd name="T57" fmla="*/ 726 h 2885"/>
                <a:gd name="T58" fmla="*/ 3342 w 3368"/>
                <a:gd name="T59" fmla="*/ 671 h 2885"/>
                <a:gd name="T60" fmla="*/ 3345 w 3368"/>
                <a:gd name="T61" fmla="*/ 665 h 2885"/>
                <a:gd name="T62" fmla="*/ 3346 w 3368"/>
                <a:gd name="T63" fmla="*/ 664 h 2885"/>
                <a:gd name="T64" fmla="*/ 3348 w 3368"/>
                <a:gd name="T65" fmla="*/ 659 h 2885"/>
                <a:gd name="T66" fmla="*/ 3350 w 3368"/>
                <a:gd name="T67" fmla="*/ 655 h 2885"/>
                <a:gd name="T68" fmla="*/ 3351 w 3368"/>
                <a:gd name="T69" fmla="*/ 653 h 2885"/>
                <a:gd name="T70" fmla="*/ 3360 w 3368"/>
                <a:gd name="T71" fmla="*/ 622 h 2885"/>
                <a:gd name="T72" fmla="*/ 3327 w 3368"/>
                <a:gd name="T73" fmla="*/ 477 h 2885"/>
                <a:gd name="T74" fmla="*/ 3207 w 3368"/>
                <a:gd name="T75" fmla="*/ 373 h 2885"/>
                <a:gd name="T76" fmla="*/ 3134 w 3368"/>
                <a:gd name="T77" fmla="*/ 370 h 2885"/>
                <a:gd name="T78" fmla="*/ 3133 w 3368"/>
                <a:gd name="T79" fmla="*/ 370 h 2885"/>
                <a:gd name="T80" fmla="*/ 3126 w 3368"/>
                <a:gd name="T81" fmla="*/ 372 h 2885"/>
                <a:gd name="T82" fmla="*/ 3093 w 3368"/>
                <a:gd name="T83" fmla="*/ 385 h 2885"/>
                <a:gd name="T84" fmla="*/ 3085 w 3368"/>
                <a:gd name="T85" fmla="*/ 390 h 2885"/>
                <a:gd name="T86" fmla="*/ 3041 w 3368"/>
                <a:gd name="T87" fmla="*/ 422 h 2885"/>
                <a:gd name="T88" fmla="*/ 2956 w 3368"/>
                <a:gd name="T89" fmla="*/ 527 h 2885"/>
                <a:gd name="T90" fmla="*/ 2869 w 3368"/>
                <a:gd name="T91" fmla="*/ 572 h 2885"/>
                <a:gd name="T92" fmla="*/ 2863 w 3368"/>
                <a:gd name="T93" fmla="*/ 571 h 2885"/>
                <a:gd name="T94" fmla="*/ 2849 w 3368"/>
                <a:gd name="T95" fmla="*/ 570 h 2885"/>
                <a:gd name="T96" fmla="*/ 2801 w 3368"/>
                <a:gd name="T97" fmla="*/ 546 h 2885"/>
                <a:gd name="T98" fmla="*/ 2798 w 3368"/>
                <a:gd name="T99" fmla="*/ 542 h 2885"/>
                <a:gd name="T100" fmla="*/ 835 w 3368"/>
                <a:gd name="T101" fmla="*/ 1 h 2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68" h="2885">
                  <a:moveTo>
                    <a:pt x="520" y="547"/>
                  </a:moveTo>
                  <a:lnTo>
                    <a:pt x="520" y="547"/>
                  </a:lnTo>
                  <a:cubicBezTo>
                    <a:pt x="519" y="559"/>
                    <a:pt x="522" y="571"/>
                    <a:pt x="527" y="582"/>
                  </a:cubicBezTo>
                  <a:lnTo>
                    <a:pt x="527" y="582"/>
                  </a:lnTo>
                  <a:cubicBezTo>
                    <a:pt x="539" y="604"/>
                    <a:pt x="560" y="618"/>
                    <a:pt x="585" y="620"/>
                  </a:cubicBezTo>
                  <a:lnTo>
                    <a:pt x="585" y="620"/>
                  </a:lnTo>
                  <a:cubicBezTo>
                    <a:pt x="625" y="622"/>
                    <a:pt x="664" y="629"/>
                    <a:pt x="698" y="637"/>
                  </a:cubicBezTo>
                  <a:lnTo>
                    <a:pt x="698" y="637"/>
                  </a:lnTo>
                  <a:cubicBezTo>
                    <a:pt x="732" y="645"/>
                    <a:pt x="761" y="656"/>
                    <a:pt x="783" y="668"/>
                  </a:cubicBezTo>
                  <a:lnTo>
                    <a:pt x="783" y="668"/>
                  </a:lnTo>
                  <a:cubicBezTo>
                    <a:pt x="802" y="680"/>
                    <a:pt x="819" y="693"/>
                    <a:pt x="833" y="708"/>
                  </a:cubicBezTo>
                  <a:lnTo>
                    <a:pt x="833" y="708"/>
                  </a:lnTo>
                  <a:cubicBezTo>
                    <a:pt x="854" y="731"/>
                    <a:pt x="868" y="757"/>
                    <a:pt x="876" y="787"/>
                  </a:cubicBezTo>
                  <a:lnTo>
                    <a:pt x="876" y="787"/>
                  </a:lnTo>
                  <a:cubicBezTo>
                    <a:pt x="890" y="843"/>
                    <a:pt x="878" y="906"/>
                    <a:pt x="842" y="968"/>
                  </a:cubicBezTo>
                  <a:lnTo>
                    <a:pt x="842" y="968"/>
                  </a:lnTo>
                  <a:cubicBezTo>
                    <a:pt x="809" y="1024"/>
                    <a:pt x="765" y="1066"/>
                    <a:pt x="716" y="1084"/>
                  </a:cubicBezTo>
                  <a:lnTo>
                    <a:pt x="716" y="1084"/>
                  </a:lnTo>
                  <a:cubicBezTo>
                    <a:pt x="703" y="1089"/>
                    <a:pt x="690" y="1093"/>
                    <a:pt x="677" y="1094"/>
                  </a:cubicBezTo>
                  <a:lnTo>
                    <a:pt x="674" y="1095"/>
                  </a:lnTo>
                  <a:lnTo>
                    <a:pt x="674" y="1095"/>
                  </a:lnTo>
                  <a:cubicBezTo>
                    <a:pt x="673" y="1095"/>
                    <a:pt x="671" y="1095"/>
                    <a:pt x="669" y="1095"/>
                  </a:cubicBezTo>
                  <a:lnTo>
                    <a:pt x="668" y="1095"/>
                  </a:lnTo>
                  <a:lnTo>
                    <a:pt x="668" y="1095"/>
                  </a:lnTo>
                  <a:cubicBezTo>
                    <a:pt x="666" y="1095"/>
                    <a:pt x="665" y="1095"/>
                    <a:pt x="663" y="1095"/>
                  </a:cubicBezTo>
                  <a:lnTo>
                    <a:pt x="660" y="1096"/>
                  </a:lnTo>
                  <a:lnTo>
                    <a:pt x="660" y="1096"/>
                  </a:lnTo>
                  <a:cubicBezTo>
                    <a:pt x="658" y="1096"/>
                    <a:pt x="655" y="1096"/>
                    <a:pt x="653" y="1096"/>
                  </a:cubicBezTo>
                  <a:lnTo>
                    <a:pt x="653" y="1096"/>
                  </a:lnTo>
                  <a:cubicBezTo>
                    <a:pt x="622" y="1096"/>
                    <a:pt x="592" y="1089"/>
                    <a:pt x="562" y="1073"/>
                  </a:cubicBezTo>
                  <a:lnTo>
                    <a:pt x="562" y="1073"/>
                  </a:lnTo>
                  <a:cubicBezTo>
                    <a:pt x="559" y="1072"/>
                    <a:pt x="556" y="1071"/>
                    <a:pt x="553" y="1068"/>
                  </a:cubicBezTo>
                  <a:lnTo>
                    <a:pt x="553" y="1068"/>
                  </a:lnTo>
                  <a:cubicBezTo>
                    <a:pt x="509" y="1043"/>
                    <a:pt x="455" y="989"/>
                    <a:pt x="411" y="922"/>
                  </a:cubicBezTo>
                  <a:lnTo>
                    <a:pt x="411" y="922"/>
                  </a:lnTo>
                  <a:cubicBezTo>
                    <a:pt x="397" y="902"/>
                    <a:pt x="373" y="890"/>
                    <a:pt x="348" y="891"/>
                  </a:cubicBezTo>
                  <a:lnTo>
                    <a:pt x="348" y="891"/>
                  </a:lnTo>
                  <a:cubicBezTo>
                    <a:pt x="336" y="891"/>
                    <a:pt x="325" y="895"/>
                    <a:pt x="315" y="901"/>
                  </a:cubicBezTo>
                  <a:lnTo>
                    <a:pt x="0" y="1446"/>
                  </a:lnTo>
                  <a:lnTo>
                    <a:pt x="830" y="2884"/>
                  </a:lnTo>
                  <a:lnTo>
                    <a:pt x="2493" y="2883"/>
                  </a:lnTo>
                  <a:lnTo>
                    <a:pt x="3321" y="1448"/>
                  </a:lnTo>
                  <a:lnTo>
                    <a:pt x="3006" y="904"/>
                  </a:lnTo>
                  <a:lnTo>
                    <a:pt x="3006" y="904"/>
                  </a:lnTo>
                  <a:cubicBezTo>
                    <a:pt x="3006" y="902"/>
                    <a:pt x="3005" y="900"/>
                    <a:pt x="3005" y="899"/>
                  </a:cubicBezTo>
                  <a:lnTo>
                    <a:pt x="3005" y="899"/>
                  </a:lnTo>
                  <a:cubicBezTo>
                    <a:pt x="3002" y="878"/>
                    <a:pt x="3004" y="857"/>
                    <a:pt x="3013" y="838"/>
                  </a:cubicBezTo>
                  <a:lnTo>
                    <a:pt x="3014" y="837"/>
                  </a:lnTo>
                  <a:lnTo>
                    <a:pt x="3014" y="837"/>
                  </a:lnTo>
                  <a:cubicBezTo>
                    <a:pt x="3014" y="836"/>
                    <a:pt x="3015" y="835"/>
                    <a:pt x="3015" y="833"/>
                  </a:cubicBezTo>
                  <a:lnTo>
                    <a:pt x="3015" y="833"/>
                  </a:lnTo>
                  <a:cubicBezTo>
                    <a:pt x="3016" y="832"/>
                    <a:pt x="3016" y="831"/>
                    <a:pt x="3017" y="830"/>
                  </a:cubicBezTo>
                  <a:lnTo>
                    <a:pt x="3017" y="830"/>
                  </a:lnTo>
                  <a:cubicBezTo>
                    <a:pt x="3033" y="799"/>
                    <a:pt x="3064" y="779"/>
                    <a:pt x="3099" y="776"/>
                  </a:cubicBezTo>
                  <a:lnTo>
                    <a:pt x="3099" y="776"/>
                  </a:lnTo>
                  <a:cubicBezTo>
                    <a:pt x="3173" y="772"/>
                    <a:pt x="3241" y="754"/>
                    <a:pt x="3280" y="732"/>
                  </a:cubicBezTo>
                  <a:lnTo>
                    <a:pt x="3280" y="732"/>
                  </a:lnTo>
                  <a:cubicBezTo>
                    <a:pt x="3283" y="730"/>
                    <a:pt x="3286" y="728"/>
                    <a:pt x="3288" y="726"/>
                  </a:cubicBezTo>
                  <a:lnTo>
                    <a:pt x="3288" y="726"/>
                  </a:lnTo>
                  <a:cubicBezTo>
                    <a:pt x="3312" y="711"/>
                    <a:pt x="3330" y="693"/>
                    <a:pt x="3342" y="671"/>
                  </a:cubicBezTo>
                  <a:lnTo>
                    <a:pt x="3342" y="671"/>
                  </a:lnTo>
                  <a:cubicBezTo>
                    <a:pt x="3343" y="669"/>
                    <a:pt x="3345" y="668"/>
                    <a:pt x="3345" y="665"/>
                  </a:cubicBezTo>
                  <a:lnTo>
                    <a:pt x="3345" y="665"/>
                  </a:lnTo>
                  <a:cubicBezTo>
                    <a:pt x="3345" y="665"/>
                    <a:pt x="3346" y="665"/>
                    <a:pt x="3346" y="664"/>
                  </a:cubicBezTo>
                  <a:lnTo>
                    <a:pt x="3348" y="659"/>
                  </a:lnTo>
                  <a:lnTo>
                    <a:pt x="3348" y="659"/>
                  </a:lnTo>
                  <a:cubicBezTo>
                    <a:pt x="3349" y="658"/>
                    <a:pt x="3349" y="657"/>
                    <a:pt x="3350" y="655"/>
                  </a:cubicBezTo>
                  <a:lnTo>
                    <a:pt x="3350" y="655"/>
                  </a:lnTo>
                  <a:lnTo>
                    <a:pt x="3351" y="653"/>
                  </a:lnTo>
                  <a:lnTo>
                    <a:pt x="3351" y="653"/>
                  </a:lnTo>
                  <a:cubicBezTo>
                    <a:pt x="3355" y="643"/>
                    <a:pt x="3358" y="633"/>
                    <a:pt x="3360" y="622"/>
                  </a:cubicBezTo>
                  <a:lnTo>
                    <a:pt x="3360" y="622"/>
                  </a:lnTo>
                  <a:cubicBezTo>
                    <a:pt x="3367" y="578"/>
                    <a:pt x="3355" y="526"/>
                    <a:pt x="3327" y="477"/>
                  </a:cubicBezTo>
                  <a:lnTo>
                    <a:pt x="3327" y="477"/>
                  </a:lnTo>
                  <a:cubicBezTo>
                    <a:pt x="3295" y="422"/>
                    <a:pt x="3253" y="386"/>
                    <a:pt x="3207" y="373"/>
                  </a:cubicBezTo>
                  <a:lnTo>
                    <a:pt x="3207" y="373"/>
                  </a:lnTo>
                  <a:cubicBezTo>
                    <a:pt x="3183" y="365"/>
                    <a:pt x="3159" y="365"/>
                    <a:pt x="3134" y="370"/>
                  </a:cubicBezTo>
                  <a:lnTo>
                    <a:pt x="3134" y="370"/>
                  </a:lnTo>
                  <a:cubicBezTo>
                    <a:pt x="3134" y="370"/>
                    <a:pt x="3134" y="370"/>
                    <a:pt x="3133" y="370"/>
                  </a:cubicBezTo>
                  <a:lnTo>
                    <a:pt x="3133" y="370"/>
                  </a:lnTo>
                  <a:cubicBezTo>
                    <a:pt x="3131" y="371"/>
                    <a:pt x="3128" y="371"/>
                    <a:pt x="3126" y="372"/>
                  </a:cubicBezTo>
                  <a:lnTo>
                    <a:pt x="3126" y="372"/>
                  </a:lnTo>
                  <a:cubicBezTo>
                    <a:pt x="3115" y="376"/>
                    <a:pt x="3104" y="380"/>
                    <a:pt x="3093" y="385"/>
                  </a:cubicBezTo>
                  <a:lnTo>
                    <a:pt x="3093" y="385"/>
                  </a:lnTo>
                  <a:cubicBezTo>
                    <a:pt x="3090" y="387"/>
                    <a:pt x="3088" y="388"/>
                    <a:pt x="3085" y="390"/>
                  </a:cubicBezTo>
                  <a:lnTo>
                    <a:pt x="3085" y="390"/>
                  </a:lnTo>
                  <a:cubicBezTo>
                    <a:pt x="3071" y="398"/>
                    <a:pt x="3057" y="409"/>
                    <a:pt x="3041" y="422"/>
                  </a:cubicBezTo>
                  <a:lnTo>
                    <a:pt x="3041" y="422"/>
                  </a:lnTo>
                  <a:cubicBezTo>
                    <a:pt x="3013" y="449"/>
                    <a:pt x="2983" y="485"/>
                    <a:pt x="2956" y="527"/>
                  </a:cubicBezTo>
                  <a:lnTo>
                    <a:pt x="2956" y="527"/>
                  </a:lnTo>
                  <a:cubicBezTo>
                    <a:pt x="2937" y="556"/>
                    <a:pt x="2904" y="573"/>
                    <a:pt x="2869" y="572"/>
                  </a:cubicBezTo>
                  <a:lnTo>
                    <a:pt x="2869" y="572"/>
                  </a:lnTo>
                  <a:cubicBezTo>
                    <a:pt x="2868" y="572"/>
                    <a:pt x="2866" y="572"/>
                    <a:pt x="2864" y="572"/>
                  </a:cubicBezTo>
                  <a:lnTo>
                    <a:pt x="2863" y="571"/>
                  </a:lnTo>
                  <a:lnTo>
                    <a:pt x="2863" y="571"/>
                  </a:lnTo>
                  <a:cubicBezTo>
                    <a:pt x="2858" y="571"/>
                    <a:pt x="2854" y="570"/>
                    <a:pt x="2849" y="570"/>
                  </a:cubicBezTo>
                  <a:lnTo>
                    <a:pt x="2849" y="570"/>
                  </a:lnTo>
                  <a:cubicBezTo>
                    <a:pt x="2831" y="566"/>
                    <a:pt x="2814" y="558"/>
                    <a:pt x="2801" y="546"/>
                  </a:cubicBezTo>
                  <a:lnTo>
                    <a:pt x="2801" y="546"/>
                  </a:lnTo>
                  <a:cubicBezTo>
                    <a:pt x="2800" y="545"/>
                    <a:pt x="2799" y="543"/>
                    <a:pt x="2798" y="542"/>
                  </a:cubicBezTo>
                  <a:lnTo>
                    <a:pt x="2485" y="0"/>
                  </a:lnTo>
                  <a:lnTo>
                    <a:pt x="835" y="1"/>
                  </a:lnTo>
                  <a:lnTo>
                    <a:pt x="520" y="547"/>
                  </a:lnTo>
                </a:path>
              </a:pathLst>
            </a:custGeom>
            <a:solidFill>
              <a:schemeClr val="accent3"/>
            </a:solidFill>
            <a:ln>
              <a:noFill/>
            </a:ln>
            <a:effectLst/>
          </p:spPr>
          <p:txBody>
            <a:bodyPr wrap="none" anchor="ct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2449"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2" name="Freeform 4">
              <a:extLst>
                <a:ext uri="{FF2B5EF4-FFF2-40B4-BE49-F238E27FC236}">
                  <a16:creationId xmlns:a16="http://schemas.microsoft.com/office/drawing/2014/main" id="{5F75E68B-1AD2-29C6-553A-3F97127C2667}"/>
                </a:ext>
              </a:extLst>
            </p:cNvPr>
            <p:cNvSpPr>
              <a:spLocks noChangeArrowheads="1"/>
            </p:cNvSpPr>
            <p:nvPr/>
          </p:nvSpPr>
          <p:spPr bwMode="auto">
            <a:xfrm>
              <a:off x="1858296" y="1998644"/>
              <a:ext cx="2098563" cy="1796413"/>
            </a:xfrm>
            <a:custGeom>
              <a:avLst/>
              <a:gdLst>
                <a:gd name="T0" fmla="*/ 2815 w 3370"/>
                <a:gd name="T1" fmla="*/ 2329 h 2883"/>
                <a:gd name="T2" fmla="*/ 2866 w 3370"/>
                <a:gd name="T3" fmla="*/ 2310 h 2883"/>
                <a:gd name="T4" fmla="*/ 2871 w 3370"/>
                <a:gd name="T5" fmla="*/ 2310 h 2883"/>
                <a:gd name="T6" fmla="*/ 2957 w 3370"/>
                <a:gd name="T7" fmla="*/ 2356 h 2883"/>
                <a:gd name="T8" fmla="*/ 3085 w 3370"/>
                <a:gd name="T9" fmla="*/ 2492 h 2883"/>
                <a:gd name="T10" fmla="*/ 3135 w 3370"/>
                <a:gd name="T11" fmla="*/ 2512 h 2883"/>
                <a:gd name="T12" fmla="*/ 3209 w 3370"/>
                <a:gd name="T13" fmla="*/ 2510 h 2883"/>
                <a:gd name="T14" fmla="*/ 3329 w 3370"/>
                <a:gd name="T15" fmla="*/ 2405 h 2883"/>
                <a:gd name="T16" fmla="*/ 3362 w 3370"/>
                <a:gd name="T17" fmla="*/ 2261 h 2883"/>
                <a:gd name="T18" fmla="*/ 3353 w 3370"/>
                <a:gd name="T19" fmla="*/ 2229 h 2883"/>
                <a:gd name="T20" fmla="*/ 3352 w 3370"/>
                <a:gd name="T21" fmla="*/ 2228 h 2883"/>
                <a:gd name="T22" fmla="*/ 3351 w 3370"/>
                <a:gd name="T23" fmla="*/ 2224 h 2883"/>
                <a:gd name="T24" fmla="*/ 3349 w 3370"/>
                <a:gd name="T25" fmla="*/ 2222 h 2883"/>
                <a:gd name="T26" fmla="*/ 3348 w 3370"/>
                <a:gd name="T27" fmla="*/ 2218 h 2883"/>
                <a:gd name="T28" fmla="*/ 3347 w 3370"/>
                <a:gd name="T29" fmla="*/ 2217 h 2883"/>
                <a:gd name="T30" fmla="*/ 3345 w 3370"/>
                <a:gd name="T31" fmla="*/ 2211 h 2883"/>
                <a:gd name="T32" fmla="*/ 3290 w 3370"/>
                <a:gd name="T33" fmla="*/ 2156 h 2883"/>
                <a:gd name="T34" fmla="*/ 3282 w 3370"/>
                <a:gd name="T35" fmla="*/ 2151 h 2883"/>
                <a:gd name="T36" fmla="*/ 3208 w 3370"/>
                <a:gd name="T37" fmla="*/ 2123 h 2883"/>
                <a:gd name="T38" fmla="*/ 3101 w 3370"/>
                <a:gd name="T39" fmla="*/ 2108 h 2883"/>
                <a:gd name="T40" fmla="*/ 3017 w 3370"/>
                <a:gd name="T41" fmla="*/ 2056 h 2883"/>
                <a:gd name="T42" fmla="*/ 3014 w 3370"/>
                <a:gd name="T43" fmla="*/ 2051 h 2883"/>
                <a:gd name="T44" fmla="*/ 3014 w 3370"/>
                <a:gd name="T45" fmla="*/ 2050 h 2883"/>
                <a:gd name="T46" fmla="*/ 3006 w 3370"/>
                <a:gd name="T47" fmla="*/ 1989 h 2883"/>
                <a:gd name="T48" fmla="*/ 3324 w 3370"/>
                <a:gd name="T49" fmla="*/ 1436 h 2883"/>
                <a:gd name="T50" fmla="*/ 831 w 3370"/>
                <a:gd name="T51" fmla="*/ 0 h 2883"/>
                <a:gd name="T52" fmla="*/ 314 w 3370"/>
                <a:gd name="T53" fmla="*/ 1980 h 2883"/>
                <a:gd name="T54" fmla="*/ 349 w 3370"/>
                <a:gd name="T55" fmla="*/ 1991 h 2883"/>
                <a:gd name="T56" fmla="*/ 412 w 3370"/>
                <a:gd name="T57" fmla="*/ 1959 h 2883"/>
                <a:gd name="T58" fmla="*/ 553 w 3370"/>
                <a:gd name="T59" fmla="*/ 1814 h 2883"/>
                <a:gd name="T60" fmla="*/ 563 w 3370"/>
                <a:gd name="T61" fmla="*/ 1809 h 2883"/>
                <a:gd name="T62" fmla="*/ 653 w 3370"/>
                <a:gd name="T63" fmla="*/ 1786 h 2883"/>
                <a:gd name="T64" fmla="*/ 653 w 3370"/>
                <a:gd name="T65" fmla="*/ 1786 h 2883"/>
                <a:gd name="T66" fmla="*/ 665 w 3370"/>
                <a:gd name="T67" fmla="*/ 1786 h 2883"/>
                <a:gd name="T68" fmla="*/ 668 w 3370"/>
                <a:gd name="T69" fmla="*/ 1787 h 2883"/>
                <a:gd name="T70" fmla="*/ 670 w 3370"/>
                <a:gd name="T71" fmla="*/ 1787 h 2883"/>
                <a:gd name="T72" fmla="*/ 678 w 3370"/>
                <a:gd name="T73" fmla="*/ 1788 h 2883"/>
                <a:gd name="T74" fmla="*/ 717 w 3370"/>
                <a:gd name="T75" fmla="*/ 1798 h 2883"/>
                <a:gd name="T76" fmla="*/ 843 w 3370"/>
                <a:gd name="T77" fmla="*/ 1914 h 2883"/>
                <a:gd name="T78" fmla="*/ 877 w 3370"/>
                <a:gd name="T79" fmla="*/ 2095 h 2883"/>
                <a:gd name="T80" fmla="*/ 834 w 3370"/>
                <a:gd name="T81" fmla="*/ 2174 h 2883"/>
                <a:gd name="T82" fmla="*/ 783 w 3370"/>
                <a:gd name="T83" fmla="*/ 2214 h 2883"/>
                <a:gd name="T84" fmla="*/ 693 w 3370"/>
                <a:gd name="T85" fmla="*/ 2246 h 2883"/>
                <a:gd name="T86" fmla="*/ 585 w 3370"/>
                <a:gd name="T87" fmla="*/ 2263 h 2883"/>
                <a:gd name="T88" fmla="*/ 528 w 3370"/>
                <a:gd name="T89" fmla="*/ 2300 h 2883"/>
                <a:gd name="T90" fmla="*/ 520 w 3370"/>
                <a:gd name="T91" fmla="*/ 2336 h 2883"/>
                <a:gd name="T92" fmla="*/ 2490 w 3370"/>
                <a:gd name="T93" fmla="*/ 2882 h 2883"/>
                <a:gd name="T94" fmla="*/ 2799 w 3370"/>
                <a:gd name="T95" fmla="*/ 2345 h 2883"/>
                <a:gd name="T96" fmla="*/ 2802 w 3370"/>
                <a:gd name="T97" fmla="*/ 2342 h 2883"/>
                <a:gd name="T98" fmla="*/ 2811 w 3370"/>
                <a:gd name="T99" fmla="*/ 2334 h 2883"/>
                <a:gd name="T100" fmla="*/ 2815 w 3370"/>
                <a:gd name="T101" fmla="*/ 2329 h 2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70" h="2883">
                  <a:moveTo>
                    <a:pt x="2815" y="2329"/>
                  </a:moveTo>
                  <a:lnTo>
                    <a:pt x="2815" y="2329"/>
                  </a:lnTo>
                  <a:cubicBezTo>
                    <a:pt x="2830" y="2319"/>
                    <a:pt x="2847" y="2312"/>
                    <a:pt x="2865" y="2310"/>
                  </a:cubicBezTo>
                  <a:lnTo>
                    <a:pt x="2866" y="2310"/>
                  </a:lnTo>
                  <a:lnTo>
                    <a:pt x="2866" y="2310"/>
                  </a:lnTo>
                  <a:cubicBezTo>
                    <a:pt x="2867" y="2310"/>
                    <a:pt x="2870" y="2310"/>
                    <a:pt x="2871" y="2310"/>
                  </a:cubicBezTo>
                  <a:lnTo>
                    <a:pt x="2871" y="2310"/>
                  </a:lnTo>
                  <a:cubicBezTo>
                    <a:pt x="2906" y="2309"/>
                    <a:pt x="2939" y="2326"/>
                    <a:pt x="2957" y="2356"/>
                  </a:cubicBezTo>
                  <a:lnTo>
                    <a:pt x="2957" y="2356"/>
                  </a:lnTo>
                  <a:cubicBezTo>
                    <a:pt x="2999" y="2419"/>
                    <a:pt x="3047" y="2470"/>
                    <a:pt x="3085" y="2492"/>
                  </a:cubicBezTo>
                  <a:lnTo>
                    <a:pt x="3085" y="2492"/>
                  </a:lnTo>
                  <a:cubicBezTo>
                    <a:pt x="3102" y="2502"/>
                    <a:pt x="3118" y="2509"/>
                    <a:pt x="3135" y="2512"/>
                  </a:cubicBezTo>
                  <a:lnTo>
                    <a:pt x="3135" y="2512"/>
                  </a:lnTo>
                  <a:cubicBezTo>
                    <a:pt x="3160" y="2518"/>
                    <a:pt x="3185" y="2517"/>
                    <a:pt x="3209" y="2510"/>
                  </a:cubicBezTo>
                  <a:lnTo>
                    <a:pt x="3209" y="2510"/>
                  </a:lnTo>
                  <a:cubicBezTo>
                    <a:pt x="3255" y="2497"/>
                    <a:pt x="3297" y="2460"/>
                    <a:pt x="3329" y="2405"/>
                  </a:cubicBezTo>
                  <a:lnTo>
                    <a:pt x="3329" y="2405"/>
                  </a:lnTo>
                  <a:cubicBezTo>
                    <a:pt x="3357" y="2356"/>
                    <a:pt x="3369" y="2305"/>
                    <a:pt x="3362" y="2261"/>
                  </a:cubicBezTo>
                  <a:lnTo>
                    <a:pt x="3362" y="2261"/>
                  </a:lnTo>
                  <a:cubicBezTo>
                    <a:pt x="3360" y="2250"/>
                    <a:pt x="3357" y="2239"/>
                    <a:pt x="3353" y="2229"/>
                  </a:cubicBezTo>
                  <a:lnTo>
                    <a:pt x="3353" y="2229"/>
                  </a:lnTo>
                  <a:lnTo>
                    <a:pt x="3352" y="2228"/>
                  </a:lnTo>
                  <a:lnTo>
                    <a:pt x="3352" y="2228"/>
                  </a:lnTo>
                  <a:cubicBezTo>
                    <a:pt x="3352" y="2226"/>
                    <a:pt x="3351" y="2225"/>
                    <a:pt x="3351" y="2224"/>
                  </a:cubicBezTo>
                  <a:lnTo>
                    <a:pt x="3349" y="2222"/>
                  </a:lnTo>
                  <a:lnTo>
                    <a:pt x="3349" y="2222"/>
                  </a:lnTo>
                  <a:cubicBezTo>
                    <a:pt x="3349" y="2221"/>
                    <a:pt x="3349" y="2220"/>
                    <a:pt x="3348" y="2219"/>
                  </a:cubicBezTo>
                  <a:lnTo>
                    <a:pt x="3348" y="2218"/>
                  </a:lnTo>
                  <a:lnTo>
                    <a:pt x="3348" y="2218"/>
                  </a:lnTo>
                  <a:lnTo>
                    <a:pt x="3347" y="2217"/>
                  </a:lnTo>
                  <a:lnTo>
                    <a:pt x="3347" y="2217"/>
                  </a:lnTo>
                  <a:cubicBezTo>
                    <a:pt x="3347" y="2215"/>
                    <a:pt x="3345" y="2213"/>
                    <a:pt x="3345" y="2211"/>
                  </a:cubicBezTo>
                  <a:lnTo>
                    <a:pt x="3345" y="2211"/>
                  </a:lnTo>
                  <a:cubicBezTo>
                    <a:pt x="3332" y="2189"/>
                    <a:pt x="3313" y="2171"/>
                    <a:pt x="3290" y="2156"/>
                  </a:cubicBezTo>
                  <a:lnTo>
                    <a:pt x="3290" y="2156"/>
                  </a:lnTo>
                  <a:cubicBezTo>
                    <a:pt x="3288" y="2155"/>
                    <a:pt x="3285" y="2153"/>
                    <a:pt x="3282" y="2151"/>
                  </a:cubicBezTo>
                  <a:lnTo>
                    <a:pt x="3282" y="2151"/>
                  </a:lnTo>
                  <a:cubicBezTo>
                    <a:pt x="3263" y="2140"/>
                    <a:pt x="3238" y="2131"/>
                    <a:pt x="3208" y="2123"/>
                  </a:cubicBezTo>
                  <a:lnTo>
                    <a:pt x="3208" y="2123"/>
                  </a:lnTo>
                  <a:cubicBezTo>
                    <a:pt x="3176" y="2115"/>
                    <a:pt x="3139" y="2111"/>
                    <a:pt x="3101" y="2108"/>
                  </a:cubicBezTo>
                  <a:lnTo>
                    <a:pt x="3101" y="2108"/>
                  </a:lnTo>
                  <a:cubicBezTo>
                    <a:pt x="3065" y="2106"/>
                    <a:pt x="3034" y="2087"/>
                    <a:pt x="3017" y="2056"/>
                  </a:cubicBezTo>
                  <a:lnTo>
                    <a:pt x="3017" y="2056"/>
                  </a:lnTo>
                  <a:cubicBezTo>
                    <a:pt x="3016" y="2054"/>
                    <a:pt x="3015" y="2052"/>
                    <a:pt x="3014" y="2051"/>
                  </a:cubicBezTo>
                  <a:lnTo>
                    <a:pt x="3014" y="2050"/>
                  </a:lnTo>
                  <a:lnTo>
                    <a:pt x="3014" y="2050"/>
                  </a:lnTo>
                  <a:cubicBezTo>
                    <a:pt x="3005" y="2030"/>
                    <a:pt x="3002" y="2009"/>
                    <a:pt x="3006" y="1989"/>
                  </a:cubicBezTo>
                  <a:lnTo>
                    <a:pt x="3006" y="1989"/>
                  </a:lnTo>
                  <a:cubicBezTo>
                    <a:pt x="3006" y="1987"/>
                    <a:pt x="3007" y="1985"/>
                    <a:pt x="3008" y="1984"/>
                  </a:cubicBezTo>
                  <a:lnTo>
                    <a:pt x="3324" y="1436"/>
                  </a:lnTo>
                  <a:lnTo>
                    <a:pt x="2495" y="0"/>
                  </a:lnTo>
                  <a:lnTo>
                    <a:pt x="831" y="0"/>
                  </a:lnTo>
                  <a:lnTo>
                    <a:pt x="0" y="1437"/>
                  </a:lnTo>
                  <a:lnTo>
                    <a:pt x="314" y="1980"/>
                  </a:lnTo>
                  <a:lnTo>
                    <a:pt x="314" y="1980"/>
                  </a:lnTo>
                  <a:cubicBezTo>
                    <a:pt x="325" y="1987"/>
                    <a:pt x="337" y="1991"/>
                    <a:pt x="349" y="1991"/>
                  </a:cubicBezTo>
                  <a:lnTo>
                    <a:pt x="349" y="1991"/>
                  </a:lnTo>
                  <a:cubicBezTo>
                    <a:pt x="375" y="1993"/>
                    <a:pt x="397" y="1980"/>
                    <a:pt x="412" y="1959"/>
                  </a:cubicBezTo>
                  <a:lnTo>
                    <a:pt x="412" y="1959"/>
                  </a:lnTo>
                  <a:cubicBezTo>
                    <a:pt x="456" y="1894"/>
                    <a:pt x="509" y="1840"/>
                    <a:pt x="553" y="1814"/>
                  </a:cubicBezTo>
                  <a:lnTo>
                    <a:pt x="553" y="1814"/>
                  </a:lnTo>
                  <a:cubicBezTo>
                    <a:pt x="557" y="1812"/>
                    <a:pt x="560" y="1810"/>
                    <a:pt x="563" y="1809"/>
                  </a:cubicBezTo>
                  <a:lnTo>
                    <a:pt x="563" y="1809"/>
                  </a:lnTo>
                  <a:cubicBezTo>
                    <a:pt x="592" y="1794"/>
                    <a:pt x="622" y="1786"/>
                    <a:pt x="653" y="1786"/>
                  </a:cubicBezTo>
                  <a:lnTo>
                    <a:pt x="653" y="1786"/>
                  </a:lnTo>
                  <a:lnTo>
                    <a:pt x="653" y="1786"/>
                  </a:lnTo>
                  <a:cubicBezTo>
                    <a:pt x="656" y="1786"/>
                    <a:pt x="659" y="1786"/>
                    <a:pt x="660" y="1786"/>
                  </a:cubicBezTo>
                  <a:lnTo>
                    <a:pt x="665" y="1786"/>
                  </a:lnTo>
                  <a:lnTo>
                    <a:pt x="665" y="1786"/>
                  </a:lnTo>
                  <a:cubicBezTo>
                    <a:pt x="666" y="1787"/>
                    <a:pt x="667" y="1787"/>
                    <a:pt x="668" y="1787"/>
                  </a:cubicBezTo>
                  <a:lnTo>
                    <a:pt x="670" y="1787"/>
                  </a:lnTo>
                  <a:lnTo>
                    <a:pt x="670" y="1787"/>
                  </a:lnTo>
                  <a:cubicBezTo>
                    <a:pt x="672" y="1787"/>
                    <a:pt x="674" y="1788"/>
                    <a:pt x="676" y="1788"/>
                  </a:cubicBezTo>
                  <a:lnTo>
                    <a:pt x="678" y="1788"/>
                  </a:lnTo>
                  <a:lnTo>
                    <a:pt x="678" y="1788"/>
                  </a:lnTo>
                  <a:cubicBezTo>
                    <a:pt x="691" y="1790"/>
                    <a:pt x="704" y="1793"/>
                    <a:pt x="717" y="1798"/>
                  </a:cubicBezTo>
                  <a:lnTo>
                    <a:pt x="717" y="1798"/>
                  </a:lnTo>
                  <a:cubicBezTo>
                    <a:pt x="765" y="1817"/>
                    <a:pt x="811" y="1858"/>
                    <a:pt x="843" y="1914"/>
                  </a:cubicBezTo>
                  <a:lnTo>
                    <a:pt x="843" y="1914"/>
                  </a:lnTo>
                  <a:cubicBezTo>
                    <a:pt x="879" y="1977"/>
                    <a:pt x="890" y="2040"/>
                    <a:pt x="877" y="2095"/>
                  </a:cubicBezTo>
                  <a:lnTo>
                    <a:pt x="877" y="2095"/>
                  </a:lnTo>
                  <a:cubicBezTo>
                    <a:pt x="869" y="2125"/>
                    <a:pt x="855" y="2152"/>
                    <a:pt x="834" y="2174"/>
                  </a:cubicBezTo>
                  <a:lnTo>
                    <a:pt x="834" y="2174"/>
                  </a:lnTo>
                  <a:cubicBezTo>
                    <a:pt x="820" y="2189"/>
                    <a:pt x="803" y="2203"/>
                    <a:pt x="783" y="2214"/>
                  </a:cubicBezTo>
                  <a:lnTo>
                    <a:pt x="783" y="2214"/>
                  </a:lnTo>
                  <a:cubicBezTo>
                    <a:pt x="761" y="2228"/>
                    <a:pt x="730" y="2239"/>
                    <a:pt x="693" y="2246"/>
                  </a:cubicBezTo>
                  <a:lnTo>
                    <a:pt x="693" y="2246"/>
                  </a:lnTo>
                  <a:cubicBezTo>
                    <a:pt x="660" y="2254"/>
                    <a:pt x="623" y="2260"/>
                    <a:pt x="585" y="2263"/>
                  </a:cubicBezTo>
                  <a:lnTo>
                    <a:pt x="585" y="2263"/>
                  </a:lnTo>
                  <a:cubicBezTo>
                    <a:pt x="561" y="2265"/>
                    <a:pt x="539" y="2279"/>
                    <a:pt x="528" y="2300"/>
                  </a:cubicBezTo>
                  <a:lnTo>
                    <a:pt x="528" y="2300"/>
                  </a:lnTo>
                  <a:cubicBezTo>
                    <a:pt x="522" y="2311"/>
                    <a:pt x="519" y="2323"/>
                    <a:pt x="520" y="2336"/>
                  </a:cubicBezTo>
                  <a:lnTo>
                    <a:pt x="835" y="2881"/>
                  </a:lnTo>
                  <a:lnTo>
                    <a:pt x="2490" y="2882"/>
                  </a:lnTo>
                  <a:lnTo>
                    <a:pt x="2799" y="2345"/>
                  </a:lnTo>
                  <a:lnTo>
                    <a:pt x="2799" y="2345"/>
                  </a:lnTo>
                  <a:cubicBezTo>
                    <a:pt x="2800" y="2344"/>
                    <a:pt x="2801" y="2343"/>
                    <a:pt x="2802" y="2342"/>
                  </a:cubicBezTo>
                  <a:lnTo>
                    <a:pt x="2802" y="2342"/>
                  </a:lnTo>
                  <a:cubicBezTo>
                    <a:pt x="2804" y="2339"/>
                    <a:pt x="2807" y="2338"/>
                    <a:pt x="2810" y="2336"/>
                  </a:cubicBezTo>
                  <a:lnTo>
                    <a:pt x="2811" y="2334"/>
                  </a:lnTo>
                  <a:lnTo>
                    <a:pt x="2811" y="2334"/>
                  </a:lnTo>
                  <a:cubicBezTo>
                    <a:pt x="2812" y="2332"/>
                    <a:pt x="2814" y="2330"/>
                    <a:pt x="2815" y="2329"/>
                  </a:cubicBezTo>
                </a:path>
              </a:pathLst>
            </a:custGeom>
            <a:solidFill>
              <a:schemeClr val="accent2"/>
            </a:solidFill>
            <a:ln>
              <a:noFill/>
            </a:ln>
            <a:effectLst/>
          </p:spPr>
          <p:txBody>
            <a:bodyPr wrap="none" anchor="ct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2449"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Freeform 5">
              <a:extLst>
                <a:ext uri="{FF2B5EF4-FFF2-40B4-BE49-F238E27FC236}">
                  <a16:creationId xmlns:a16="http://schemas.microsoft.com/office/drawing/2014/main" id="{D2CF8B04-C426-2A46-0F01-D35C10B54CD1}"/>
                </a:ext>
              </a:extLst>
            </p:cNvPr>
            <p:cNvSpPr>
              <a:spLocks noChangeArrowheads="1"/>
            </p:cNvSpPr>
            <p:nvPr/>
          </p:nvSpPr>
          <p:spPr bwMode="auto">
            <a:xfrm>
              <a:off x="4995152" y="2004137"/>
              <a:ext cx="2098563" cy="1796413"/>
            </a:xfrm>
            <a:custGeom>
              <a:avLst/>
              <a:gdLst>
                <a:gd name="T0" fmla="*/ 2814 w 3368"/>
                <a:gd name="T1" fmla="*/ 2329 h 2883"/>
                <a:gd name="T2" fmla="*/ 2864 w 3368"/>
                <a:gd name="T3" fmla="*/ 2311 h 2883"/>
                <a:gd name="T4" fmla="*/ 2869 w 3368"/>
                <a:gd name="T5" fmla="*/ 2310 h 2883"/>
                <a:gd name="T6" fmla="*/ 2872 w 3368"/>
                <a:gd name="T7" fmla="*/ 2310 h 2883"/>
                <a:gd name="T8" fmla="*/ 2955 w 3368"/>
                <a:gd name="T9" fmla="*/ 2356 h 2883"/>
                <a:gd name="T10" fmla="*/ 3083 w 3368"/>
                <a:gd name="T11" fmla="*/ 2492 h 2883"/>
                <a:gd name="T12" fmla="*/ 3133 w 3368"/>
                <a:gd name="T13" fmla="*/ 2512 h 2883"/>
                <a:gd name="T14" fmla="*/ 3207 w 3368"/>
                <a:gd name="T15" fmla="*/ 2510 h 2883"/>
                <a:gd name="T16" fmla="*/ 3327 w 3368"/>
                <a:gd name="T17" fmla="*/ 2406 h 2883"/>
                <a:gd name="T18" fmla="*/ 3360 w 3368"/>
                <a:gd name="T19" fmla="*/ 2261 h 2883"/>
                <a:gd name="T20" fmla="*/ 3351 w 3368"/>
                <a:gd name="T21" fmla="*/ 2229 h 2883"/>
                <a:gd name="T22" fmla="*/ 3351 w 3368"/>
                <a:gd name="T23" fmla="*/ 2228 h 2883"/>
                <a:gd name="T24" fmla="*/ 3349 w 3368"/>
                <a:gd name="T25" fmla="*/ 2224 h 2883"/>
                <a:gd name="T26" fmla="*/ 3347 w 3368"/>
                <a:gd name="T27" fmla="*/ 2223 h 2883"/>
                <a:gd name="T28" fmla="*/ 3345 w 3368"/>
                <a:gd name="T29" fmla="*/ 2217 h 2883"/>
                <a:gd name="T30" fmla="*/ 3343 w 3368"/>
                <a:gd name="T31" fmla="*/ 2211 h 2883"/>
                <a:gd name="T32" fmla="*/ 3332 w 3368"/>
                <a:gd name="T33" fmla="*/ 2196 h 2883"/>
                <a:gd name="T34" fmla="*/ 3330 w 3368"/>
                <a:gd name="T35" fmla="*/ 2194 h 2883"/>
                <a:gd name="T36" fmla="*/ 3326 w 3368"/>
                <a:gd name="T37" fmla="*/ 2189 h 2883"/>
                <a:gd name="T38" fmla="*/ 3284 w 3368"/>
                <a:gd name="T39" fmla="*/ 2156 h 2883"/>
                <a:gd name="T40" fmla="*/ 3099 w 3368"/>
                <a:gd name="T41" fmla="*/ 2114 h 2883"/>
                <a:gd name="T42" fmla="*/ 3015 w 3368"/>
                <a:gd name="T43" fmla="*/ 2061 h 2883"/>
                <a:gd name="T44" fmla="*/ 3013 w 3368"/>
                <a:gd name="T45" fmla="*/ 2056 h 2883"/>
                <a:gd name="T46" fmla="*/ 3012 w 3368"/>
                <a:gd name="T47" fmla="*/ 2055 h 2883"/>
                <a:gd name="T48" fmla="*/ 3004 w 3368"/>
                <a:gd name="T49" fmla="*/ 1994 h 2883"/>
                <a:gd name="T50" fmla="*/ 3324 w 3368"/>
                <a:gd name="T51" fmla="*/ 1440 h 2883"/>
                <a:gd name="T52" fmla="*/ 3324 w 3368"/>
                <a:gd name="T53" fmla="*/ 1439 h 2883"/>
                <a:gd name="T54" fmla="*/ 829 w 3368"/>
                <a:gd name="T55" fmla="*/ 0 h 2883"/>
                <a:gd name="T56" fmla="*/ 316 w 3368"/>
                <a:gd name="T57" fmla="*/ 1982 h 2883"/>
                <a:gd name="T58" fmla="*/ 337 w 3368"/>
                <a:gd name="T59" fmla="*/ 1991 h 2883"/>
                <a:gd name="T60" fmla="*/ 347 w 3368"/>
                <a:gd name="T61" fmla="*/ 1992 h 2883"/>
                <a:gd name="T62" fmla="*/ 347 w 3368"/>
                <a:gd name="T63" fmla="*/ 1992 h 2883"/>
                <a:gd name="T64" fmla="*/ 410 w 3368"/>
                <a:gd name="T65" fmla="*/ 1960 h 2883"/>
                <a:gd name="T66" fmla="*/ 504 w 3368"/>
                <a:gd name="T67" fmla="*/ 1850 h 2883"/>
                <a:gd name="T68" fmla="*/ 550 w 3368"/>
                <a:gd name="T69" fmla="*/ 1815 h 2883"/>
                <a:gd name="T70" fmla="*/ 598 w 3368"/>
                <a:gd name="T71" fmla="*/ 1794 h 2883"/>
                <a:gd name="T72" fmla="*/ 651 w 3368"/>
                <a:gd name="T73" fmla="*/ 1786 h 2883"/>
                <a:gd name="T74" fmla="*/ 662 w 3368"/>
                <a:gd name="T75" fmla="*/ 1787 h 2883"/>
                <a:gd name="T76" fmla="*/ 666 w 3368"/>
                <a:gd name="T77" fmla="*/ 1787 h 2883"/>
                <a:gd name="T78" fmla="*/ 668 w 3368"/>
                <a:gd name="T79" fmla="*/ 1787 h 2883"/>
                <a:gd name="T80" fmla="*/ 674 w 3368"/>
                <a:gd name="T81" fmla="*/ 1788 h 2883"/>
                <a:gd name="T82" fmla="*/ 675 w 3368"/>
                <a:gd name="T83" fmla="*/ 1788 h 2883"/>
                <a:gd name="T84" fmla="*/ 715 w 3368"/>
                <a:gd name="T85" fmla="*/ 1799 h 2883"/>
                <a:gd name="T86" fmla="*/ 841 w 3368"/>
                <a:gd name="T87" fmla="*/ 1914 h 2883"/>
                <a:gd name="T88" fmla="*/ 874 w 3368"/>
                <a:gd name="T89" fmla="*/ 2096 h 2883"/>
                <a:gd name="T90" fmla="*/ 832 w 3368"/>
                <a:gd name="T91" fmla="*/ 2175 h 2883"/>
                <a:gd name="T92" fmla="*/ 781 w 3368"/>
                <a:gd name="T93" fmla="*/ 2214 h 2883"/>
                <a:gd name="T94" fmla="*/ 583 w 3368"/>
                <a:gd name="T95" fmla="*/ 2261 h 2883"/>
                <a:gd name="T96" fmla="*/ 525 w 3368"/>
                <a:gd name="T97" fmla="*/ 2298 h 2883"/>
                <a:gd name="T98" fmla="*/ 524 w 3368"/>
                <a:gd name="T99" fmla="*/ 2299 h 2883"/>
                <a:gd name="T100" fmla="*/ 523 w 3368"/>
                <a:gd name="T101" fmla="*/ 2302 h 2883"/>
                <a:gd name="T102" fmla="*/ 521 w 3368"/>
                <a:gd name="T103" fmla="*/ 2305 h 2883"/>
                <a:gd name="T104" fmla="*/ 836 w 3368"/>
                <a:gd name="T105" fmla="*/ 2882 h 2883"/>
                <a:gd name="T106" fmla="*/ 2798 w 3368"/>
                <a:gd name="T107" fmla="*/ 2351 h 2883"/>
                <a:gd name="T108" fmla="*/ 2801 w 3368"/>
                <a:gd name="T109" fmla="*/ 2347 h 2883"/>
                <a:gd name="T110" fmla="*/ 2802 w 3368"/>
                <a:gd name="T111" fmla="*/ 2346 h 2883"/>
                <a:gd name="T112" fmla="*/ 2809 w 3368"/>
                <a:gd name="T113" fmla="*/ 2334 h 2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68" h="2883">
                  <a:moveTo>
                    <a:pt x="2814" y="2329"/>
                  </a:moveTo>
                  <a:lnTo>
                    <a:pt x="2814" y="2329"/>
                  </a:lnTo>
                  <a:cubicBezTo>
                    <a:pt x="2828" y="2319"/>
                    <a:pt x="2845" y="2312"/>
                    <a:pt x="2863" y="2311"/>
                  </a:cubicBezTo>
                  <a:lnTo>
                    <a:pt x="2864" y="2311"/>
                  </a:lnTo>
                  <a:lnTo>
                    <a:pt x="2864" y="2311"/>
                  </a:lnTo>
                  <a:cubicBezTo>
                    <a:pt x="2866" y="2310"/>
                    <a:pt x="2868" y="2310"/>
                    <a:pt x="2869" y="2310"/>
                  </a:cubicBezTo>
                  <a:lnTo>
                    <a:pt x="2869" y="2310"/>
                  </a:lnTo>
                  <a:cubicBezTo>
                    <a:pt x="2870" y="2310"/>
                    <a:pt x="2871" y="2310"/>
                    <a:pt x="2872" y="2310"/>
                  </a:cubicBezTo>
                  <a:lnTo>
                    <a:pt x="2872" y="2310"/>
                  </a:lnTo>
                  <a:cubicBezTo>
                    <a:pt x="2906" y="2310"/>
                    <a:pt x="2937" y="2327"/>
                    <a:pt x="2955" y="2356"/>
                  </a:cubicBezTo>
                  <a:lnTo>
                    <a:pt x="2955" y="2356"/>
                  </a:lnTo>
                  <a:cubicBezTo>
                    <a:pt x="2997" y="2419"/>
                    <a:pt x="3044" y="2470"/>
                    <a:pt x="3083" y="2492"/>
                  </a:cubicBezTo>
                  <a:lnTo>
                    <a:pt x="3083" y="2492"/>
                  </a:lnTo>
                  <a:cubicBezTo>
                    <a:pt x="3100" y="2502"/>
                    <a:pt x="3116" y="2509"/>
                    <a:pt x="3133" y="2512"/>
                  </a:cubicBezTo>
                  <a:lnTo>
                    <a:pt x="3133" y="2512"/>
                  </a:lnTo>
                  <a:cubicBezTo>
                    <a:pt x="3158" y="2518"/>
                    <a:pt x="3183" y="2517"/>
                    <a:pt x="3207" y="2510"/>
                  </a:cubicBezTo>
                  <a:lnTo>
                    <a:pt x="3207" y="2510"/>
                  </a:lnTo>
                  <a:cubicBezTo>
                    <a:pt x="3253" y="2497"/>
                    <a:pt x="3295" y="2460"/>
                    <a:pt x="3327" y="2406"/>
                  </a:cubicBezTo>
                  <a:lnTo>
                    <a:pt x="3327" y="2406"/>
                  </a:lnTo>
                  <a:cubicBezTo>
                    <a:pt x="3355" y="2357"/>
                    <a:pt x="3367" y="2305"/>
                    <a:pt x="3360" y="2261"/>
                  </a:cubicBezTo>
                  <a:lnTo>
                    <a:pt x="3360" y="2261"/>
                  </a:lnTo>
                  <a:cubicBezTo>
                    <a:pt x="3358" y="2250"/>
                    <a:pt x="3355" y="2240"/>
                    <a:pt x="3351" y="2229"/>
                  </a:cubicBezTo>
                  <a:lnTo>
                    <a:pt x="3351" y="2229"/>
                  </a:lnTo>
                  <a:lnTo>
                    <a:pt x="3351" y="2228"/>
                  </a:lnTo>
                  <a:lnTo>
                    <a:pt x="3351" y="2228"/>
                  </a:lnTo>
                  <a:cubicBezTo>
                    <a:pt x="3350" y="2226"/>
                    <a:pt x="3349" y="2225"/>
                    <a:pt x="3349" y="2224"/>
                  </a:cubicBezTo>
                  <a:lnTo>
                    <a:pt x="3347" y="2223"/>
                  </a:lnTo>
                  <a:lnTo>
                    <a:pt x="3347" y="2223"/>
                  </a:lnTo>
                  <a:cubicBezTo>
                    <a:pt x="3347" y="2221"/>
                    <a:pt x="3347" y="2221"/>
                    <a:pt x="3346" y="2219"/>
                  </a:cubicBezTo>
                  <a:lnTo>
                    <a:pt x="3345" y="2217"/>
                  </a:lnTo>
                  <a:lnTo>
                    <a:pt x="3345" y="2217"/>
                  </a:lnTo>
                  <a:cubicBezTo>
                    <a:pt x="3345" y="2215"/>
                    <a:pt x="3343" y="2213"/>
                    <a:pt x="3343" y="2211"/>
                  </a:cubicBezTo>
                  <a:lnTo>
                    <a:pt x="3343" y="2211"/>
                  </a:lnTo>
                  <a:cubicBezTo>
                    <a:pt x="3340" y="2206"/>
                    <a:pt x="3336" y="2201"/>
                    <a:pt x="3332" y="2196"/>
                  </a:cubicBezTo>
                  <a:lnTo>
                    <a:pt x="3332" y="2196"/>
                  </a:lnTo>
                  <a:cubicBezTo>
                    <a:pt x="3332" y="2195"/>
                    <a:pt x="3331" y="2195"/>
                    <a:pt x="3330" y="2194"/>
                  </a:cubicBezTo>
                  <a:lnTo>
                    <a:pt x="3330" y="2194"/>
                  </a:lnTo>
                  <a:cubicBezTo>
                    <a:pt x="3329" y="2192"/>
                    <a:pt x="3327" y="2190"/>
                    <a:pt x="3326" y="2189"/>
                  </a:cubicBezTo>
                  <a:lnTo>
                    <a:pt x="3326" y="2189"/>
                  </a:lnTo>
                  <a:cubicBezTo>
                    <a:pt x="3314" y="2177"/>
                    <a:pt x="3300" y="2166"/>
                    <a:pt x="3284" y="2156"/>
                  </a:cubicBezTo>
                  <a:lnTo>
                    <a:pt x="3284" y="2156"/>
                  </a:lnTo>
                  <a:cubicBezTo>
                    <a:pt x="3245" y="2134"/>
                    <a:pt x="3176" y="2118"/>
                    <a:pt x="3099" y="2114"/>
                  </a:cubicBezTo>
                  <a:lnTo>
                    <a:pt x="3099" y="2114"/>
                  </a:lnTo>
                  <a:cubicBezTo>
                    <a:pt x="3064" y="2112"/>
                    <a:pt x="3033" y="2092"/>
                    <a:pt x="3015" y="2061"/>
                  </a:cubicBezTo>
                  <a:lnTo>
                    <a:pt x="3015" y="2061"/>
                  </a:lnTo>
                  <a:cubicBezTo>
                    <a:pt x="3015" y="2059"/>
                    <a:pt x="3014" y="2058"/>
                    <a:pt x="3013" y="2056"/>
                  </a:cubicBezTo>
                  <a:lnTo>
                    <a:pt x="3012" y="2055"/>
                  </a:lnTo>
                  <a:lnTo>
                    <a:pt x="3012" y="2055"/>
                  </a:lnTo>
                  <a:cubicBezTo>
                    <a:pt x="3004" y="2035"/>
                    <a:pt x="3001" y="2015"/>
                    <a:pt x="3004" y="1994"/>
                  </a:cubicBezTo>
                  <a:lnTo>
                    <a:pt x="3004" y="1994"/>
                  </a:lnTo>
                  <a:cubicBezTo>
                    <a:pt x="3005" y="1993"/>
                    <a:pt x="3006" y="1991"/>
                    <a:pt x="3006" y="1989"/>
                  </a:cubicBezTo>
                  <a:lnTo>
                    <a:pt x="3324" y="1440"/>
                  </a:lnTo>
                  <a:lnTo>
                    <a:pt x="3324" y="1440"/>
                  </a:lnTo>
                  <a:cubicBezTo>
                    <a:pt x="3324" y="1439"/>
                    <a:pt x="3324" y="1439"/>
                    <a:pt x="3324" y="1439"/>
                  </a:cubicBezTo>
                  <a:lnTo>
                    <a:pt x="2493" y="0"/>
                  </a:lnTo>
                  <a:lnTo>
                    <a:pt x="829" y="0"/>
                  </a:lnTo>
                  <a:lnTo>
                    <a:pt x="0" y="1434"/>
                  </a:lnTo>
                  <a:lnTo>
                    <a:pt x="316" y="1982"/>
                  </a:lnTo>
                  <a:lnTo>
                    <a:pt x="316" y="1982"/>
                  </a:lnTo>
                  <a:cubicBezTo>
                    <a:pt x="323" y="1986"/>
                    <a:pt x="330" y="1989"/>
                    <a:pt x="337" y="1991"/>
                  </a:cubicBezTo>
                  <a:lnTo>
                    <a:pt x="337" y="1991"/>
                  </a:lnTo>
                  <a:cubicBezTo>
                    <a:pt x="340" y="1991"/>
                    <a:pt x="344" y="1992"/>
                    <a:pt x="347" y="1992"/>
                  </a:cubicBezTo>
                  <a:lnTo>
                    <a:pt x="347" y="1992"/>
                  </a:lnTo>
                  <a:lnTo>
                    <a:pt x="347" y="1992"/>
                  </a:lnTo>
                  <a:cubicBezTo>
                    <a:pt x="372" y="1993"/>
                    <a:pt x="395" y="1981"/>
                    <a:pt x="410" y="1960"/>
                  </a:cubicBezTo>
                  <a:lnTo>
                    <a:pt x="410" y="1960"/>
                  </a:lnTo>
                  <a:cubicBezTo>
                    <a:pt x="439" y="1917"/>
                    <a:pt x="472" y="1879"/>
                    <a:pt x="504" y="1850"/>
                  </a:cubicBezTo>
                  <a:lnTo>
                    <a:pt x="504" y="1850"/>
                  </a:lnTo>
                  <a:cubicBezTo>
                    <a:pt x="520" y="1835"/>
                    <a:pt x="536" y="1823"/>
                    <a:pt x="550" y="1815"/>
                  </a:cubicBezTo>
                  <a:lnTo>
                    <a:pt x="550" y="1815"/>
                  </a:lnTo>
                  <a:cubicBezTo>
                    <a:pt x="566" y="1806"/>
                    <a:pt x="581" y="1799"/>
                    <a:pt x="598" y="1794"/>
                  </a:cubicBezTo>
                  <a:lnTo>
                    <a:pt x="598" y="1794"/>
                  </a:lnTo>
                  <a:cubicBezTo>
                    <a:pt x="616" y="1789"/>
                    <a:pt x="633" y="1786"/>
                    <a:pt x="651" y="1786"/>
                  </a:cubicBezTo>
                  <a:lnTo>
                    <a:pt x="651" y="1786"/>
                  </a:lnTo>
                  <a:cubicBezTo>
                    <a:pt x="654" y="1786"/>
                    <a:pt x="656" y="1786"/>
                    <a:pt x="658" y="1786"/>
                  </a:cubicBezTo>
                  <a:lnTo>
                    <a:pt x="662" y="1787"/>
                  </a:lnTo>
                  <a:lnTo>
                    <a:pt x="662" y="1787"/>
                  </a:lnTo>
                  <a:cubicBezTo>
                    <a:pt x="664" y="1787"/>
                    <a:pt x="665" y="1787"/>
                    <a:pt x="666" y="1787"/>
                  </a:cubicBezTo>
                  <a:lnTo>
                    <a:pt x="668" y="1787"/>
                  </a:lnTo>
                  <a:lnTo>
                    <a:pt x="668" y="1787"/>
                  </a:lnTo>
                  <a:cubicBezTo>
                    <a:pt x="670" y="1788"/>
                    <a:pt x="672" y="1788"/>
                    <a:pt x="674" y="1788"/>
                  </a:cubicBezTo>
                  <a:lnTo>
                    <a:pt x="674" y="1788"/>
                  </a:lnTo>
                  <a:cubicBezTo>
                    <a:pt x="674" y="1788"/>
                    <a:pt x="674" y="1788"/>
                    <a:pt x="675" y="1788"/>
                  </a:cubicBezTo>
                  <a:lnTo>
                    <a:pt x="675" y="1788"/>
                  </a:lnTo>
                  <a:cubicBezTo>
                    <a:pt x="689" y="1790"/>
                    <a:pt x="702" y="1794"/>
                    <a:pt x="715" y="1799"/>
                  </a:cubicBezTo>
                  <a:lnTo>
                    <a:pt x="715" y="1799"/>
                  </a:lnTo>
                  <a:cubicBezTo>
                    <a:pt x="764" y="1817"/>
                    <a:pt x="809" y="1858"/>
                    <a:pt x="841" y="1914"/>
                  </a:cubicBezTo>
                  <a:lnTo>
                    <a:pt x="841" y="1914"/>
                  </a:lnTo>
                  <a:cubicBezTo>
                    <a:pt x="877" y="1977"/>
                    <a:pt x="888" y="2040"/>
                    <a:pt x="874" y="2096"/>
                  </a:cubicBezTo>
                  <a:lnTo>
                    <a:pt x="874" y="2096"/>
                  </a:lnTo>
                  <a:cubicBezTo>
                    <a:pt x="867" y="2125"/>
                    <a:pt x="853" y="2151"/>
                    <a:pt x="832" y="2175"/>
                  </a:cubicBezTo>
                  <a:lnTo>
                    <a:pt x="832" y="2175"/>
                  </a:lnTo>
                  <a:cubicBezTo>
                    <a:pt x="818" y="2190"/>
                    <a:pt x="801" y="2203"/>
                    <a:pt x="781" y="2214"/>
                  </a:cubicBezTo>
                  <a:lnTo>
                    <a:pt x="781" y="2214"/>
                  </a:lnTo>
                  <a:cubicBezTo>
                    <a:pt x="739" y="2239"/>
                    <a:pt x="664" y="2257"/>
                    <a:pt x="583" y="2261"/>
                  </a:cubicBezTo>
                  <a:lnTo>
                    <a:pt x="583" y="2261"/>
                  </a:lnTo>
                  <a:cubicBezTo>
                    <a:pt x="558" y="2262"/>
                    <a:pt x="537" y="2276"/>
                    <a:pt x="525" y="2298"/>
                  </a:cubicBezTo>
                  <a:lnTo>
                    <a:pt x="525" y="2298"/>
                  </a:lnTo>
                  <a:lnTo>
                    <a:pt x="524" y="2299"/>
                  </a:lnTo>
                  <a:lnTo>
                    <a:pt x="524" y="2299"/>
                  </a:lnTo>
                  <a:cubicBezTo>
                    <a:pt x="523" y="2301"/>
                    <a:pt x="523" y="2301"/>
                    <a:pt x="523" y="2302"/>
                  </a:cubicBezTo>
                  <a:lnTo>
                    <a:pt x="523" y="2302"/>
                  </a:lnTo>
                  <a:cubicBezTo>
                    <a:pt x="522" y="2303"/>
                    <a:pt x="522" y="2304"/>
                    <a:pt x="521" y="2305"/>
                  </a:cubicBezTo>
                  <a:lnTo>
                    <a:pt x="521" y="2305"/>
                  </a:lnTo>
                  <a:cubicBezTo>
                    <a:pt x="518" y="2313"/>
                    <a:pt x="517" y="2322"/>
                    <a:pt x="518" y="2331"/>
                  </a:cubicBezTo>
                  <a:lnTo>
                    <a:pt x="836" y="2882"/>
                  </a:lnTo>
                  <a:lnTo>
                    <a:pt x="2491" y="2882"/>
                  </a:lnTo>
                  <a:lnTo>
                    <a:pt x="2798" y="2351"/>
                  </a:lnTo>
                  <a:lnTo>
                    <a:pt x="2798" y="2351"/>
                  </a:lnTo>
                  <a:cubicBezTo>
                    <a:pt x="2798" y="2349"/>
                    <a:pt x="2800" y="2348"/>
                    <a:pt x="2801" y="2347"/>
                  </a:cubicBezTo>
                  <a:lnTo>
                    <a:pt x="2801" y="2347"/>
                  </a:lnTo>
                  <a:cubicBezTo>
                    <a:pt x="2801" y="2346"/>
                    <a:pt x="2801" y="2346"/>
                    <a:pt x="2802" y="2346"/>
                  </a:cubicBezTo>
                  <a:lnTo>
                    <a:pt x="2809" y="2334"/>
                  </a:lnTo>
                  <a:lnTo>
                    <a:pt x="2809" y="2334"/>
                  </a:lnTo>
                  <a:cubicBezTo>
                    <a:pt x="2810" y="2332"/>
                    <a:pt x="2812" y="2330"/>
                    <a:pt x="2814" y="2329"/>
                  </a:cubicBezTo>
                </a:path>
              </a:pathLst>
            </a:custGeom>
            <a:solidFill>
              <a:schemeClr val="accent4"/>
            </a:solidFill>
            <a:ln>
              <a:noFill/>
            </a:ln>
            <a:effectLst/>
          </p:spPr>
          <p:txBody>
            <a:bodyPr wrap="none" anchor="ct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2449"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Freeform 6">
              <a:extLst>
                <a:ext uri="{FF2B5EF4-FFF2-40B4-BE49-F238E27FC236}">
                  <a16:creationId xmlns:a16="http://schemas.microsoft.com/office/drawing/2014/main" id="{A87B8BFB-C9DB-01C4-E782-3619E2B5822B}"/>
                </a:ext>
              </a:extLst>
            </p:cNvPr>
            <p:cNvSpPr>
              <a:spLocks noChangeArrowheads="1"/>
            </p:cNvSpPr>
            <p:nvPr/>
          </p:nvSpPr>
          <p:spPr bwMode="auto">
            <a:xfrm>
              <a:off x="6560833" y="2913330"/>
              <a:ext cx="2098563" cy="1796413"/>
            </a:xfrm>
            <a:custGeom>
              <a:avLst/>
              <a:gdLst>
                <a:gd name="T0" fmla="*/ 844 w 3371"/>
                <a:gd name="T1" fmla="*/ 968 h 2884"/>
                <a:gd name="T2" fmla="*/ 718 w 3371"/>
                <a:gd name="T3" fmla="*/ 1083 h 2884"/>
                <a:gd name="T4" fmla="*/ 677 w 3371"/>
                <a:gd name="T5" fmla="*/ 1094 h 2884"/>
                <a:gd name="T6" fmla="*/ 671 w 3371"/>
                <a:gd name="T7" fmla="*/ 1094 h 2884"/>
                <a:gd name="T8" fmla="*/ 670 w 3371"/>
                <a:gd name="T9" fmla="*/ 1095 h 2884"/>
                <a:gd name="T10" fmla="*/ 663 w 3371"/>
                <a:gd name="T11" fmla="*/ 1095 h 2884"/>
                <a:gd name="T12" fmla="*/ 655 w 3371"/>
                <a:gd name="T13" fmla="*/ 1095 h 2884"/>
                <a:gd name="T14" fmla="*/ 655 w 3371"/>
                <a:gd name="T15" fmla="*/ 1095 h 2884"/>
                <a:gd name="T16" fmla="*/ 565 w 3371"/>
                <a:gd name="T17" fmla="*/ 1073 h 2884"/>
                <a:gd name="T18" fmla="*/ 555 w 3371"/>
                <a:gd name="T19" fmla="*/ 1067 h 2884"/>
                <a:gd name="T20" fmla="*/ 413 w 3371"/>
                <a:gd name="T21" fmla="*/ 922 h 2884"/>
                <a:gd name="T22" fmla="*/ 351 w 3371"/>
                <a:gd name="T23" fmla="*/ 890 h 2884"/>
                <a:gd name="T24" fmla="*/ 0 w 3371"/>
                <a:gd name="T25" fmla="*/ 1443 h 2884"/>
                <a:gd name="T26" fmla="*/ 2497 w 3371"/>
                <a:gd name="T27" fmla="*/ 2882 h 2884"/>
                <a:gd name="T28" fmla="*/ 3011 w 3371"/>
                <a:gd name="T29" fmla="*/ 891 h 2884"/>
                <a:gd name="T30" fmla="*/ 3009 w 3371"/>
                <a:gd name="T31" fmla="*/ 885 h 2884"/>
                <a:gd name="T32" fmla="*/ 3020 w 3371"/>
                <a:gd name="T33" fmla="*/ 829 h 2884"/>
                <a:gd name="T34" fmla="*/ 3103 w 3371"/>
                <a:gd name="T35" fmla="*/ 776 h 2884"/>
                <a:gd name="T36" fmla="*/ 3284 w 3371"/>
                <a:gd name="T37" fmla="*/ 730 h 2884"/>
                <a:gd name="T38" fmla="*/ 3292 w 3371"/>
                <a:gd name="T39" fmla="*/ 726 h 2884"/>
                <a:gd name="T40" fmla="*/ 3346 w 3371"/>
                <a:gd name="T41" fmla="*/ 670 h 2884"/>
                <a:gd name="T42" fmla="*/ 3349 w 3371"/>
                <a:gd name="T43" fmla="*/ 665 h 2884"/>
                <a:gd name="T44" fmla="*/ 3352 w 3371"/>
                <a:gd name="T45" fmla="*/ 658 h 2884"/>
                <a:gd name="T46" fmla="*/ 3369 w 3371"/>
                <a:gd name="T47" fmla="*/ 659 h 2884"/>
                <a:gd name="T48" fmla="*/ 3354 w 3371"/>
                <a:gd name="T49" fmla="*/ 653 h 2884"/>
                <a:gd name="T50" fmla="*/ 3363 w 3371"/>
                <a:gd name="T51" fmla="*/ 621 h 2884"/>
                <a:gd name="T52" fmla="*/ 3330 w 3371"/>
                <a:gd name="T53" fmla="*/ 476 h 2884"/>
                <a:gd name="T54" fmla="*/ 3210 w 3371"/>
                <a:gd name="T55" fmla="*/ 371 h 2884"/>
                <a:gd name="T56" fmla="*/ 3137 w 3371"/>
                <a:gd name="T57" fmla="*/ 370 h 2884"/>
                <a:gd name="T58" fmla="*/ 3087 w 3371"/>
                <a:gd name="T59" fmla="*/ 389 h 2884"/>
                <a:gd name="T60" fmla="*/ 2959 w 3371"/>
                <a:gd name="T61" fmla="*/ 526 h 2884"/>
                <a:gd name="T62" fmla="*/ 2873 w 3371"/>
                <a:gd name="T63" fmla="*/ 571 h 2884"/>
                <a:gd name="T64" fmla="*/ 2866 w 3371"/>
                <a:gd name="T65" fmla="*/ 571 h 2884"/>
                <a:gd name="T66" fmla="*/ 2817 w 3371"/>
                <a:gd name="T67" fmla="*/ 553 h 2884"/>
                <a:gd name="T68" fmla="*/ 2813 w 3371"/>
                <a:gd name="T69" fmla="*/ 548 h 2884"/>
                <a:gd name="T70" fmla="*/ 834 w 3371"/>
                <a:gd name="T71" fmla="*/ 0 h 2884"/>
                <a:gd name="T72" fmla="*/ 522 w 3371"/>
                <a:gd name="T73" fmla="*/ 541 h 2884"/>
                <a:gd name="T74" fmla="*/ 530 w 3371"/>
                <a:gd name="T75" fmla="*/ 576 h 2884"/>
                <a:gd name="T76" fmla="*/ 587 w 3371"/>
                <a:gd name="T77" fmla="*/ 614 h 2884"/>
                <a:gd name="T78" fmla="*/ 781 w 3371"/>
                <a:gd name="T79" fmla="*/ 663 h 2884"/>
                <a:gd name="T80" fmla="*/ 791 w 3371"/>
                <a:gd name="T81" fmla="*/ 669 h 2884"/>
                <a:gd name="T82" fmla="*/ 839 w 3371"/>
                <a:gd name="T83" fmla="*/ 711 h 2884"/>
                <a:gd name="T84" fmla="*/ 878 w 3371"/>
                <a:gd name="T85" fmla="*/ 786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71" h="2884">
                  <a:moveTo>
                    <a:pt x="844" y="968"/>
                  </a:moveTo>
                  <a:lnTo>
                    <a:pt x="844" y="968"/>
                  </a:lnTo>
                  <a:cubicBezTo>
                    <a:pt x="812" y="1023"/>
                    <a:pt x="768" y="1064"/>
                    <a:pt x="718" y="1083"/>
                  </a:cubicBezTo>
                  <a:lnTo>
                    <a:pt x="718" y="1083"/>
                  </a:lnTo>
                  <a:cubicBezTo>
                    <a:pt x="706" y="1088"/>
                    <a:pt x="692" y="1092"/>
                    <a:pt x="679" y="1094"/>
                  </a:cubicBezTo>
                  <a:lnTo>
                    <a:pt x="677" y="1094"/>
                  </a:lnTo>
                  <a:lnTo>
                    <a:pt x="677" y="1094"/>
                  </a:lnTo>
                  <a:cubicBezTo>
                    <a:pt x="675" y="1094"/>
                    <a:pt x="673" y="1094"/>
                    <a:pt x="671" y="1094"/>
                  </a:cubicBezTo>
                  <a:lnTo>
                    <a:pt x="670" y="1095"/>
                  </a:lnTo>
                  <a:lnTo>
                    <a:pt x="670" y="1095"/>
                  </a:lnTo>
                  <a:cubicBezTo>
                    <a:pt x="668" y="1095"/>
                    <a:pt x="667" y="1095"/>
                    <a:pt x="666" y="1095"/>
                  </a:cubicBezTo>
                  <a:lnTo>
                    <a:pt x="663" y="1095"/>
                  </a:lnTo>
                  <a:lnTo>
                    <a:pt x="663" y="1095"/>
                  </a:lnTo>
                  <a:cubicBezTo>
                    <a:pt x="660" y="1095"/>
                    <a:pt x="658" y="1095"/>
                    <a:pt x="655" y="1095"/>
                  </a:cubicBezTo>
                  <a:lnTo>
                    <a:pt x="655" y="1095"/>
                  </a:lnTo>
                  <a:lnTo>
                    <a:pt x="655" y="1095"/>
                  </a:lnTo>
                  <a:cubicBezTo>
                    <a:pt x="624" y="1095"/>
                    <a:pt x="595" y="1088"/>
                    <a:pt x="565" y="1073"/>
                  </a:cubicBezTo>
                  <a:lnTo>
                    <a:pt x="565" y="1073"/>
                  </a:lnTo>
                  <a:cubicBezTo>
                    <a:pt x="562" y="1071"/>
                    <a:pt x="558" y="1069"/>
                    <a:pt x="555" y="1067"/>
                  </a:cubicBezTo>
                  <a:lnTo>
                    <a:pt x="555" y="1067"/>
                  </a:lnTo>
                  <a:cubicBezTo>
                    <a:pt x="511" y="1042"/>
                    <a:pt x="458" y="988"/>
                    <a:pt x="413" y="922"/>
                  </a:cubicBezTo>
                  <a:lnTo>
                    <a:pt x="413" y="922"/>
                  </a:lnTo>
                  <a:cubicBezTo>
                    <a:pt x="399" y="901"/>
                    <a:pt x="375" y="889"/>
                    <a:pt x="351" y="890"/>
                  </a:cubicBezTo>
                  <a:lnTo>
                    <a:pt x="351" y="890"/>
                  </a:lnTo>
                  <a:cubicBezTo>
                    <a:pt x="336" y="891"/>
                    <a:pt x="323" y="895"/>
                    <a:pt x="311" y="904"/>
                  </a:cubicBezTo>
                  <a:lnTo>
                    <a:pt x="0" y="1443"/>
                  </a:lnTo>
                  <a:lnTo>
                    <a:pt x="832" y="2883"/>
                  </a:lnTo>
                  <a:lnTo>
                    <a:pt x="2497" y="2882"/>
                  </a:lnTo>
                  <a:lnTo>
                    <a:pt x="3329" y="1440"/>
                  </a:lnTo>
                  <a:lnTo>
                    <a:pt x="3011" y="891"/>
                  </a:lnTo>
                  <a:lnTo>
                    <a:pt x="3011" y="891"/>
                  </a:lnTo>
                  <a:cubicBezTo>
                    <a:pt x="3010" y="889"/>
                    <a:pt x="3009" y="887"/>
                    <a:pt x="3009" y="885"/>
                  </a:cubicBezTo>
                  <a:lnTo>
                    <a:pt x="3009" y="885"/>
                  </a:lnTo>
                  <a:cubicBezTo>
                    <a:pt x="3007" y="866"/>
                    <a:pt x="3011" y="846"/>
                    <a:pt x="3020" y="829"/>
                  </a:cubicBezTo>
                  <a:lnTo>
                    <a:pt x="3020" y="829"/>
                  </a:lnTo>
                  <a:cubicBezTo>
                    <a:pt x="3036" y="798"/>
                    <a:pt x="3068" y="778"/>
                    <a:pt x="3103" y="776"/>
                  </a:cubicBezTo>
                  <a:lnTo>
                    <a:pt x="3103" y="776"/>
                  </a:lnTo>
                  <a:cubicBezTo>
                    <a:pt x="3176" y="770"/>
                    <a:pt x="3244" y="754"/>
                    <a:pt x="3284" y="730"/>
                  </a:cubicBezTo>
                  <a:lnTo>
                    <a:pt x="3284" y="730"/>
                  </a:lnTo>
                  <a:cubicBezTo>
                    <a:pt x="3287" y="729"/>
                    <a:pt x="3289" y="727"/>
                    <a:pt x="3292" y="726"/>
                  </a:cubicBezTo>
                  <a:lnTo>
                    <a:pt x="3292" y="726"/>
                  </a:lnTo>
                  <a:cubicBezTo>
                    <a:pt x="3315" y="711"/>
                    <a:pt x="3333" y="692"/>
                    <a:pt x="3346" y="670"/>
                  </a:cubicBezTo>
                  <a:lnTo>
                    <a:pt x="3346" y="670"/>
                  </a:lnTo>
                  <a:cubicBezTo>
                    <a:pt x="3347" y="669"/>
                    <a:pt x="3348" y="667"/>
                    <a:pt x="3349" y="665"/>
                  </a:cubicBezTo>
                  <a:lnTo>
                    <a:pt x="3352" y="658"/>
                  </a:lnTo>
                  <a:lnTo>
                    <a:pt x="3352" y="658"/>
                  </a:lnTo>
                  <a:cubicBezTo>
                    <a:pt x="3352" y="657"/>
                    <a:pt x="3353" y="655"/>
                    <a:pt x="3354" y="654"/>
                  </a:cubicBezTo>
                  <a:lnTo>
                    <a:pt x="3369" y="659"/>
                  </a:lnTo>
                  <a:lnTo>
                    <a:pt x="3354" y="653"/>
                  </a:lnTo>
                  <a:lnTo>
                    <a:pt x="3354" y="653"/>
                  </a:lnTo>
                  <a:cubicBezTo>
                    <a:pt x="3359" y="642"/>
                    <a:pt x="3362" y="632"/>
                    <a:pt x="3363" y="621"/>
                  </a:cubicBezTo>
                  <a:lnTo>
                    <a:pt x="3363" y="621"/>
                  </a:lnTo>
                  <a:cubicBezTo>
                    <a:pt x="3370" y="576"/>
                    <a:pt x="3359" y="525"/>
                    <a:pt x="3330" y="476"/>
                  </a:cubicBezTo>
                  <a:lnTo>
                    <a:pt x="3330" y="476"/>
                  </a:lnTo>
                  <a:cubicBezTo>
                    <a:pt x="3299" y="421"/>
                    <a:pt x="3257" y="385"/>
                    <a:pt x="3210" y="371"/>
                  </a:cubicBezTo>
                  <a:lnTo>
                    <a:pt x="3210" y="371"/>
                  </a:lnTo>
                  <a:cubicBezTo>
                    <a:pt x="3186" y="365"/>
                    <a:pt x="3162" y="364"/>
                    <a:pt x="3137" y="370"/>
                  </a:cubicBezTo>
                  <a:lnTo>
                    <a:pt x="3137" y="370"/>
                  </a:lnTo>
                  <a:cubicBezTo>
                    <a:pt x="3120" y="373"/>
                    <a:pt x="3103" y="380"/>
                    <a:pt x="3087" y="389"/>
                  </a:cubicBezTo>
                  <a:lnTo>
                    <a:pt x="3087" y="389"/>
                  </a:lnTo>
                  <a:cubicBezTo>
                    <a:pt x="3048" y="412"/>
                    <a:pt x="3000" y="463"/>
                    <a:pt x="2959" y="526"/>
                  </a:cubicBezTo>
                  <a:lnTo>
                    <a:pt x="2959" y="526"/>
                  </a:lnTo>
                  <a:cubicBezTo>
                    <a:pt x="2940" y="555"/>
                    <a:pt x="2908" y="573"/>
                    <a:pt x="2873" y="571"/>
                  </a:cubicBezTo>
                  <a:lnTo>
                    <a:pt x="2873" y="571"/>
                  </a:lnTo>
                  <a:cubicBezTo>
                    <a:pt x="2871" y="571"/>
                    <a:pt x="2869" y="571"/>
                    <a:pt x="2868" y="571"/>
                  </a:cubicBezTo>
                  <a:lnTo>
                    <a:pt x="2866" y="571"/>
                  </a:lnTo>
                  <a:lnTo>
                    <a:pt x="2866" y="571"/>
                  </a:lnTo>
                  <a:cubicBezTo>
                    <a:pt x="2849" y="569"/>
                    <a:pt x="2831" y="563"/>
                    <a:pt x="2817" y="553"/>
                  </a:cubicBezTo>
                  <a:lnTo>
                    <a:pt x="2817" y="553"/>
                  </a:lnTo>
                  <a:cubicBezTo>
                    <a:pt x="2815" y="552"/>
                    <a:pt x="2814" y="550"/>
                    <a:pt x="2813" y="548"/>
                  </a:cubicBezTo>
                  <a:lnTo>
                    <a:pt x="2496" y="0"/>
                  </a:lnTo>
                  <a:lnTo>
                    <a:pt x="834" y="0"/>
                  </a:lnTo>
                  <a:lnTo>
                    <a:pt x="522" y="541"/>
                  </a:lnTo>
                  <a:lnTo>
                    <a:pt x="522" y="541"/>
                  </a:lnTo>
                  <a:cubicBezTo>
                    <a:pt x="521" y="553"/>
                    <a:pt x="523" y="565"/>
                    <a:pt x="530" y="576"/>
                  </a:cubicBezTo>
                  <a:lnTo>
                    <a:pt x="530" y="576"/>
                  </a:lnTo>
                  <a:cubicBezTo>
                    <a:pt x="541" y="598"/>
                    <a:pt x="563" y="612"/>
                    <a:pt x="587" y="614"/>
                  </a:cubicBezTo>
                  <a:lnTo>
                    <a:pt x="587" y="614"/>
                  </a:lnTo>
                  <a:cubicBezTo>
                    <a:pt x="665" y="619"/>
                    <a:pt x="738" y="637"/>
                    <a:pt x="781" y="663"/>
                  </a:cubicBezTo>
                  <a:lnTo>
                    <a:pt x="781" y="663"/>
                  </a:lnTo>
                  <a:cubicBezTo>
                    <a:pt x="785" y="664"/>
                    <a:pt x="788" y="667"/>
                    <a:pt x="791" y="669"/>
                  </a:cubicBezTo>
                  <a:lnTo>
                    <a:pt x="791" y="669"/>
                  </a:lnTo>
                  <a:cubicBezTo>
                    <a:pt x="810" y="681"/>
                    <a:pt x="826" y="695"/>
                    <a:pt x="839" y="711"/>
                  </a:cubicBezTo>
                  <a:lnTo>
                    <a:pt x="839" y="711"/>
                  </a:lnTo>
                  <a:cubicBezTo>
                    <a:pt x="858" y="733"/>
                    <a:pt x="871" y="758"/>
                    <a:pt x="878" y="786"/>
                  </a:cubicBezTo>
                  <a:lnTo>
                    <a:pt x="878" y="786"/>
                  </a:lnTo>
                  <a:cubicBezTo>
                    <a:pt x="892" y="842"/>
                    <a:pt x="881" y="905"/>
                    <a:pt x="844" y="968"/>
                  </a:cubicBezTo>
                </a:path>
              </a:pathLst>
            </a:custGeom>
            <a:solidFill>
              <a:schemeClr val="accent6"/>
            </a:solidFill>
            <a:ln>
              <a:noFill/>
            </a:ln>
            <a:effectLst/>
          </p:spPr>
          <p:txBody>
            <a:bodyPr wrap="none" anchor="ctr"/>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US" sz="2449"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TextBox 24">
              <a:extLst>
                <a:ext uri="{FF2B5EF4-FFF2-40B4-BE49-F238E27FC236}">
                  <a16:creationId xmlns:a16="http://schemas.microsoft.com/office/drawing/2014/main" id="{D3D18616-8944-6BB1-E944-105474A4D632}"/>
                </a:ext>
              </a:extLst>
            </p:cNvPr>
            <p:cNvSpPr txBox="1"/>
            <p:nvPr/>
          </p:nvSpPr>
          <p:spPr>
            <a:xfrm>
              <a:off x="914339" y="3262030"/>
              <a:ext cx="793331" cy="1095732"/>
            </a:xfrm>
            <a:prstGeom prst="rect">
              <a:avLst/>
            </a:prstGeom>
            <a:noFill/>
          </p:spPr>
          <p:txBody>
            <a:bodyPr wrap="none" rtlCol="0" anchor="ctr">
              <a:spAutoFit/>
            </a:bodyPr>
            <a:lstStyle/>
            <a:p>
              <a:pPr marL="0" marR="0" lvl="0" indent="0" algn="ctr" defTabSz="342900" rtl="0" eaLnBrk="1" fontAlgn="auto" latinLnBrk="0" hangingPunct="1">
                <a:lnSpc>
                  <a:spcPts val="5400"/>
                </a:lnSpc>
                <a:spcBef>
                  <a:spcPts val="0"/>
                </a:spcBef>
                <a:spcAft>
                  <a:spcPts val="0"/>
                </a:spcAft>
                <a:buClrTx/>
                <a:buSzTx/>
                <a:buFontTx/>
                <a:buNone/>
                <a:tabLst/>
                <a:defRPr/>
              </a:pPr>
              <a:r>
                <a:rPr kumimoji="0" lang="en-US" sz="4500" b="1" i="0" u="none" strike="noStrike" kern="1200" cap="none" spc="-109"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a:t>
              </a:r>
            </a:p>
          </p:txBody>
        </p:sp>
        <p:sp>
          <p:nvSpPr>
            <p:cNvPr id="26" name="TextBox 25">
              <a:extLst>
                <a:ext uri="{FF2B5EF4-FFF2-40B4-BE49-F238E27FC236}">
                  <a16:creationId xmlns:a16="http://schemas.microsoft.com/office/drawing/2014/main" id="{6665EC99-08C0-45D2-9DE0-0CC870768FFC}"/>
                </a:ext>
              </a:extLst>
            </p:cNvPr>
            <p:cNvSpPr txBox="1"/>
            <p:nvPr/>
          </p:nvSpPr>
          <p:spPr>
            <a:xfrm>
              <a:off x="2509822" y="2305721"/>
              <a:ext cx="779903" cy="1095732"/>
            </a:xfrm>
            <a:prstGeom prst="rect">
              <a:avLst/>
            </a:prstGeom>
            <a:noFill/>
          </p:spPr>
          <p:txBody>
            <a:bodyPr wrap="none" rtlCol="0" anchor="ctr">
              <a:spAutoFit/>
            </a:bodyPr>
            <a:lstStyle/>
            <a:p>
              <a:pPr marL="0" marR="0" lvl="0" indent="0" algn="ctr" defTabSz="342900" rtl="0" eaLnBrk="1" fontAlgn="auto" latinLnBrk="0" hangingPunct="1">
                <a:lnSpc>
                  <a:spcPts val="5400"/>
                </a:lnSpc>
                <a:spcBef>
                  <a:spcPts val="0"/>
                </a:spcBef>
                <a:spcAft>
                  <a:spcPts val="0"/>
                </a:spcAft>
                <a:buClrTx/>
                <a:buSzTx/>
                <a:buFontTx/>
                <a:buNone/>
                <a:tabLst/>
                <a:defRPr/>
              </a:pPr>
              <a:r>
                <a:rPr kumimoji="0" lang="en-US" sz="4500" b="1" i="0" u="none" strike="noStrike" kern="1200" cap="none" spc="-109"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B</a:t>
              </a:r>
            </a:p>
          </p:txBody>
        </p:sp>
        <p:sp>
          <p:nvSpPr>
            <p:cNvPr id="27" name="TextBox 26">
              <a:extLst>
                <a:ext uri="{FF2B5EF4-FFF2-40B4-BE49-F238E27FC236}">
                  <a16:creationId xmlns:a16="http://schemas.microsoft.com/office/drawing/2014/main" id="{EC50A751-6D78-C454-7160-B29AE13F3B76}"/>
                </a:ext>
              </a:extLst>
            </p:cNvPr>
            <p:cNvSpPr txBox="1"/>
            <p:nvPr/>
          </p:nvSpPr>
          <p:spPr>
            <a:xfrm>
              <a:off x="4114816" y="3262030"/>
              <a:ext cx="750810" cy="1095732"/>
            </a:xfrm>
            <a:prstGeom prst="rect">
              <a:avLst/>
            </a:prstGeom>
            <a:noFill/>
          </p:spPr>
          <p:txBody>
            <a:bodyPr wrap="none" rtlCol="0" anchor="ctr">
              <a:spAutoFit/>
            </a:bodyPr>
            <a:lstStyle/>
            <a:p>
              <a:pPr marL="0" marR="0" lvl="0" indent="0" algn="ctr" defTabSz="342900" rtl="0" eaLnBrk="1" fontAlgn="auto" latinLnBrk="0" hangingPunct="1">
                <a:lnSpc>
                  <a:spcPts val="5400"/>
                </a:lnSpc>
                <a:spcBef>
                  <a:spcPts val="0"/>
                </a:spcBef>
                <a:spcAft>
                  <a:spcPts val="0"/>
                </a:spcAft>
                <a:buClrTx/>
                <a:buSzTx/>
                <a:buFontTx/>
                <a:buNone/>
                <a:tabLst/>
                <a:defRPr/>
              </a:pPr>
              <a:r>
                <a:rPr kumimoji="0" lang="en-US" sz="4500" b="1" i="0" u="none" strike="noStrike" kern="1200" cap="none" spc="-109"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a:t>
              </a:r>
            </a:p>
          </p:txBody>
        </p:sp>
        <p:sp>
          <p:nvSpPr>
            <p:cNvPr id="28" name="TextBox 27">
              <a:extLst>
                <a:ext uri="{FF2B5EF4-FFF2-40B4-BE49-F238E27FC236}">
                  <a16:creationId xmlns:a16="http://schemas.microsoft.com/office/drawing/2014/main" id="{C8DD0BCE-F2CF-9AB4-C68D-2895BCB87B1C}"/>
                </a:ext>
              </a:extLst>
            </p:cNvPr>
            <p:cNvSpPr txBox="1"/>
            <p:nvPr/>
          </p:nvSpPr>
          <p:spPr>
            <a:xfrm>
              <a:off x="5599118" y="2305721"/>
              <a:ext cx="833618" cy="1095732"/>
            </a:xfrm>
            <a:prstGeom prst="rect">
              <a:avLst/>
            </a:prstGeom>
            <a:noFill/>
          </p:spPr>
          <p:txBody>
            <a:bodyPr wrap="none" rtlCol="0" anchor="ctr">
              <a:spAutoFit/>
            </a:bodyPr>
            <a:lstStyle/>
            <a:p>
              <a:pPr marL="0" marR="0" lvl="0" indent="0" algn="ctr" defTabSz="342900" rtl="0" eaLnBrk="1" fontAlgn="auto" latinLnBrk="0" hangingPunct="1">
                <a:lnSpc>
                  <a:spcPts val="5400"/>
                </a:lnSpc>
                <a:spcBef>
                  <a:spcPts val="0"/>
                </a:spcBef>
                <a:spcAft>
                  <a:spcPts val="0"/>
                </a:spcAft>
                <a:buClrTx/>
                <a:buSzTx/>
                <a:buFontTx/>
                <a:buNone/>
                <a:tabLst/>
                <a:defRPr/>
              </a:pPr>
              <a:r>
                <a:rPr kumimoji="0" lang="en-US" sz="4500" b="1" i="0" u="none" strike="noStrike" kern="1200" cap="none" spc="-109"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D</a:t>
              </a:r>
            </a:p>
          </p:txBody>
        </p:sp>
        <p:sp>
          <p:nvSpPr>
            <p:cNvPr id="29" name="TextBox 28">
              <a:extLst>
                <a:ext uri="{FF2B5EF4-FFF2-40B4-BE49-F238E27FC236}">
                  <a16:creationId xmlns:a16="http://schemas.microsoft.com/office/drawing/2014/main" id="{1E525925-08C9-25DA-B149-2BD5189B2DBC}"/>
                </a:ext>
              </a:extLst>
            </p:cNvPr>
            <p:cNvSpPr txBox="1"/>
            <p:nvPr/>
          </p:nvSpPr>
          <p:spPr>
            <a:xfrm>
              <a:off x="7217471" y="3262030"/>
              <a:ext cx="690384" cy="1095732"/>
            </a:xfrm>
            <a:prstGeom prst="rect">
              <a:avLst/>
            </a:prstGeom>
            <a:noFill/>
          </p:spPr>
          <p:txBody>
            <a:bodyPr wrap="none" rtlCol="0" anchor="ctr">
              <a:spAutoFit/>
            </a:bodyPr>
            <a:lstStyle/>
            <a:p>
              <a:pPr marL="0" marR="0" lvl="0" indent="0" algn="ctr" defTabSz="342900" rtl="0" eaLnBrk="1" fontAlgn="auto" latinLnBrk="0" hangingPunct="1">
                <a:lnSpc>
                  <a:spcPts val="5400"/>
                </a:lnSpc>
                <a:spcBef>
                  <a:spcPts val="0"/>
                </a:spcBef>
                <a:spcAft>
                  <a:spcPts val="0"/>
                </a:spcAft>
                <a:buClrTx/>
                <a:buSzTx/>
                <a:buFontTx/>
                <a:buNone/>
                <a:tabLst/>
                <a:defRPr/>
              </a:pPr>
              <a:r>
                <a:rPr kumimoji="0" lang="en-US" sz="4500" b="1" i="0" u="none" strike="noStrike" kern="1200" cap="none" spc="-109"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E</a:t>
              </a:r>
            </a:p>
          </p:txBody>
        </p:sp>
      </p:grpSp>
    </p:spTree>
    <p:extLst>
      <p:ext uri="{BB962C8B-B14F-4D97-AF65-F5344CB8AC3E}">
        <p14:creationId xmlns:p14="http://schemas.microsoft.com/office/powerpoint/2010/main" val="37852700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4DDB7F-FF47-130F-AE7E-01742AD0EF3B}"/>
              </a:ext>
            </a:extLst>
          </p:cNvPr>
          <p:cNvSpPr>
            <a:spLocks noGrp="1"/>
          </p:cNvSpPr>
          <p:nvPr>
            <p:ph type="body" sz="quarter" idx="12"/>
          </p:nvPr>
        </p:nvSpPr>
        <p:spPr/>
        <p:txBody>
          <a:bodyPr/>
          <a:lstStyle/>
          <a:p>
            <a:r>
              <a:rPr lang="en-US" dirty="0"/>
              <a:t>DATA PRIVACY</a:t>
            </a:r>
          </a:p>
        </p:txBody>
      </p:sp>
    </p:spTree>
    <p:extLst>
      <p:ext uri="{BB962C8B-B14F-4D97-AF65-F5344CB8AC3E}">
        <p14:creationId xmlns:p14="http://schemas.microsoft.com/office/powerpoint/2010/main" val="3350000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creen Recording 10">
            <a:hlinkClick r:id="" action="ppaction://media"/>
            <a:extLst>
              <a:ext uri="{FF2B5EF4-FFF2-40B4-BE49-F238E27FC236}">
                <a16:creationId xmlns:a16="http://schemas.microsoft.com/office/drawing/2014/main" id="{202147A4-A37A-C94F-CA30-335D211D792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19111" y="252919"/>
            <a:ext cx="9553778" cy="602418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829574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755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vol="80000" mute="1">
                <p:cTn id="12" fill="hold" display="0">
                  <p:stCondLst>
                    <p:cond delay="indefinite"/>
                  </p:stCondLst>
                </p:cTn>
                <p:tgtEl>
                  <p:spTgt spid="4"/>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4DDB7F-FF47-130F-AE7E-01742AD0EF3B}"/>
              </a:ext>
            </a:extLst>
          </p:cNvPr>
          <p:cNvSpPr>
            <a:spLocks noGrp="1"/>
          </p:cNvSpPr>
          <p:nvPr>
            <p:ph type="body" sz="quarter" idx="12"/>
          </p:nvPr>
        </p:nvSpPr>
        <p:spPr/>
        <p:txBody>
          <a:bodyPr/>
          <a:lstStyle/>
          <a:p>
            <a:r>
              <a:rPr lang="en-US" dirty="0"/>
              <a:t>Introduction</a:t>
            </a:r>
          </a:p>
        </p:txBody>
      </p:sp>
    </p:spTree>
    <p:extLst>
      <p:ext uri="{BB962C8B-B14F-4D97-AF65-F5344CB8AC3E}">
        <p14:creationId xmlns:p14="http://schemas.microsoft.com/office/powerpoint/2010/main" val="22314974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EBA8E6-CF33-C073-1E96-8F70830D9EE7}"/>
              </a:ext>
            </a:extLst>
          </p:cNvPr>
          <p:cNvSpPr>
            <a:spLocks noGrp="1"/>
          </p:cNvSpPr>
          <p:nvPr>
            <p:ph type="body" sz="quarter" idx="15"/>
          </p:nvPr>
        </p:nvSpPr>
        <p:spPr/>
        <p:txBody>
          <a:bodyPr/>
          <a:lstStyle/>
          <a:p>
            <a:r>
              <a:rPr lang="en-US" dirty="0"/>
              <a:t>DATA PRIVACY CONSIDERATIONS</a:t>
            </a:r>
          </a:p>
        </p:txBody>
      </p:sp>
      <p:sp>
        <p:nvSpPr>
          <p:cNvPr id="4" name="Rectangle 3">
            <a:extLst>
              <a:ext uri="{FF2B5EF4-FFF2-40B4-BE49-F238E27FC236}">
                <a16:creationId xmlns:a16="http://schemas.microsoft.com/office/drawing/2014/main" id="{ED1FFE34-E45D-05C3-2CFC-ECBEB55F25E2}"/>
              </a:ext>
            </a:extLst>
          </p:cNvPr>
          <p:cNvSpPr/>
          <p:nvPr/>
        </p:nvSpPr>
        <p:spPr>
          <a:xfrm>
            <a:off x="390331" y="1600200"/>
            <a:ext cx="365760" cy="1097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AU" sz="2400" b="1" dirty="0">
                <a:solidFill>
                  <a:prstClr val="white"/>
                </a:solidFill>
                <a:latin typeface="Open Sans Extrabold" panose="020B0906030804020204" pitchFamily="34" charset="0"/>
                <a:ea typeface="Open Sans Extrabold" panose="020B0906030804020204" pitchFamily="34" charset="0"/>
                <a:cs typeface="Open Sans Extrabold" panose="020B0906030804020204" pitchFamily="34" charset="0"/>
              </a:rPr>
              <a:t>1</a:t>
            </a:r>
          </a:p>
        </p:txBody>
      </p:sp>
      <p:sp>
        <p:nvSpPr>
          <p:cNvPr id="5" name="Rectangle 4">
            <a:extLst>
              <a:ext uri="{FF2B5EF4-FFF2-40B4-BE49-F238E27FC236}">
                <a16:creationId xmlns:a16="http://schemas.microsoft.com/office/drawing/2014/main" id="{E1BE8E9F-1603-340C-59CF-86FE14BBE24E}"/>
              </a:ext>
            </a:extLst>
          </p:cNvPr>
          <p:cNvSpPr/>
          <p:nvPr/>
        </p:nvSpPr>
        <p:spPr>
          <a:xfrm>
            <a:off x="390331" y="2801367"/>
            <a:ext cx="365760" cy="10972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GB" sz="2400" b="1" dirty="0">
                <a:solidFill>
                  <a:prstClr val="white"/>
                </a:solidFill>
                <a:latin typeface="Open Sans Extrabold" panose="020B0906030804020204" pitchFamily="34" charset="0"/>
                <a:ea typeface="Open Sans Extrabold" panose="020B0906030804020204" pitchFamily="34" charset="0"/>
                <a:cs typeface="Open Sans Extrabold" panose="020B0906030804020204" pitchFamily="34" charset="0"/>
              </a:rPr>
              <a:t>2</a:t>
            </a:r>
            <a:endParaRPr lang="en-AU" sz="2400" b="1" dirty="0">
              <a:solidFill>
                <a:prstClr val="white"/>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6" name="Rectangle 5">
            <a:extLst>
              <a:ext uri="{FF2B5EF4-FFF2-40B4-BE49-F238E27FC236}">
                <a16:creationId xmlns:a16="http://schemas.microsoft.com/office/drawing/2014/main" id="{CDC7BBED-BCE2-CE87-D64B-502CBE9B9B86}"/>
              </a:ext>
            </a:extLst>
          </p:cNvPr>
          <p:cNvSpPr/>
          <p:nvPr/>
        </p:nvSpPr>
        <p:spPr>
          <a:xfrm>
            <a:off x="390331" y="4002534"/>
            <a:ext cx="365760" cy="1097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GB" sz="2400" b="1" dirty="0">
                <a:solidFill>
                  <a:prstClr val="white"/>
                </a:solidFill>
                <a:latin typeface="Open Sans Extrabold" panose="020B0906030804020204" pitchFamily="34" charset="0"/>
                <a:ea typeface="Open Sans Extrabold" panose="020B0906030804020204" pitchFamily="34" charset="0"/>
                <a:cs typeface="Open Sans Extrabold" panose="020B0906030804020204" pitchFamily="34" charset="0"/>
              </a:rPr>
              <a:t>3</a:t>
            </a:r>
            <a:endParaRPr lang="en-AU" sz="2400" b="1" dirty="0">
              <a:solidFill>
                <a:prstClr val="white"/>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7" name="Rectangle 6">
            <a:extLst>
              <a:ext uri="{FF2B5EF4-FFF2-40B4-BE49-F238E27FC236}">
                <a16:creationId xmlns:a16="http://schemas.microsoft.com/office/drawing/2014/main" id="{6B5032EF-8807-FAA9-50B6-11045ABA9935}"/>
              </a:ext>
            </a:extLst>
          </p:cNvPr>
          <p:cNvSpPr/>
          <p:nvPr/>
        </p:nvSpPr>
        <p:spPr>
          <a:xfrm>
            <a:off x="390331" y="5203700"/>
            <a:ext cx="365760" cy="109728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GB" sz="2400" b="1" dirty="0">
                <a:solidFill>
                  <a:prstClr val="white"/>
                </a:solidFill>
                <a:latin typeface="Open Sans Extrabold" panose="020B0906030804020204" pitchFamily="34" charset="0"/>
                <a:ea typeface="Open Sans Extrabold" panose="020B0906030804020204" pitchFamily="34" charset="0"/>
                <a:cs typeface="Open Sans Extrabold" panose="020B0906030804020204" pitchFamily="34" charset="0"/>
              </a:rPr>
              <a:t>4</a:t>
            </a:r>
            <a:endParaRPr lang="en-AU" sz="2400" b="1" dirty="0">
              <a:solidFill>
                <a:prstClr val="white"/>
              </a:solidFill>
              <a:latin typeface="Open Sans Extrabold" panose="020B0906030804020204" pitchFamily="34" charset="0"/>
              <a:ea typeface="Open Sans Extrabold" panose="020B0906030804020204" pitchFamily="34" charset="0"/>
              <a:cs typeface="Open Sans Extrabold" panose="020B0906030804020204" pitchFamily="34" charset="0"/>
            </a:endParaRPr>
          </a:p>
        </p:txBody>
      </p:sp>
      <p:sp>
        <p:nvSpPr>
          <p:cNvPr id="8" name="Rectangle 7">
            <a:extLst>
              <a:ext uri="{FF2B5EF4-FFF2-40B4-BE49-F238E27FC236}">
                <a16:creationId xmlns:a16="http://schemas.microsoft.com/office/drawing/2014/main" id="{54267609-77E4-69A0-3663-FA813D9FD5FE}"/>
              </a:ext>
            </a:extLst>
          </p:cNvPr>
          <p:cNvSpPr/>
          <p:nvPr/>
        </p:nvSpPr>
        <p:spPr>
          <a:xfrm>
            <a:off x="912548" y="1600200"/>
            <a:ext cx="1603773" cy="10972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AU" sz="1400" b="1" dirty="0">
                <a:solidFill>
                  <a:prstClr val="white"/>
                </a:solidFill>
                <a:latin typeface="Open Sans Extrabold" panose="020B0906030804020204" pitchFamily="34" charset="0"/>
                <a:ea typeface="Open Sans Extrabold" panose="020B0906030804020204" pitchFamily="34" charset="0"/>
                <a:cs typeface="Open Sans Extrabold" panose="020B0906030804020204" pitchFamily="34" charset="0"/>
              </a:rPr>
              <a:t>Individual Privacy Rights</a:t>
            </a:r>
          </a:p>
        </p:txBody>
      </p:sp>
      <p:sp>
        <p:nvSpPr>
          <p:cNvPr id="9" name="Rectangle 8">
            <a:extLst>
              <a:ext uri="{FF2B5EF4-FFF2-40B4-BE49-F238E27FC236}">
                <a16:creationId xmlns:a16="http://schemas.microsoft.com/office/drawing/2014/main" id="{25A2EE2A-6FD1-563C-F1CD-213E1A2711F4}"/>
              </a:ext>
            </a:extLst>
          </p:cNvPr>
          <p:cNvSpPr/>
          <p:nvPr/>
        </p:nvSpPr>
        <p:spPr>
          <a:xfrm>
            <a:off x="912548" y="2789959"/>
            <a:ext cx="1603773" cy="10972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AU" sz="1400" b="1" dirty="0">
                <a:solidFill>
                  <a:prstClr val="white"/>
                </a:solidFill>
                <a:latin typeface="Open Sans Extrabold" panose="020B0906030804020204" pitchFamily="34" charset="0"/>
                <a:ea typeface="Open Sans Extrabold" panose="020B0906030804020204" pitchFamily="34" charset="0"/>
                <a:cs typeface="Open Sans Extrabold" panose="020B0906030804020204" pitchFamily="34" charset="0"/>
              </a:rPr>
              <a:t>Data Usage Concerns</a:t>
            </a:r>
          </a:p>
        </p:txBody>
      </p:sp>
      <p:sp>
        <p:nvSpPr>
          <p:cNvPr id="10" name="Rectangle 9">
            <a:extLst>
              <a:ext uri="{FF2B5EF4-FFF2-40B4-BE49-F238E27FC236}">
                <a16:creationId xmlns:a16="http://schemas.microsoft.com/office/drawing/2014/main" id="{A52E1DF1-1558-0CDE-76C9-FD2815DF0F0B}"/>
              </a:ext>
            </a:extLst>
          </p:cNvPr>
          <p:cNvSpPr/>
          <p:nvPr/>
        </p:nvSpPr>
        <p:spPr>
          <a:xfrm>
            <a:off x="912548" y="4002534"/>
            <a:ext cx="1603773" cy="10972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AU" sz="1400" b="1" dirty="0">
                <a:solidFill>
                  <a:prstClr val="white"/>
                </a:solidFill>
                <a:latin typeface="Open Sans Extrabold" panose="020B0906030804020204" pitchFamily="34" charset="0"/>
                <a:ea typeface="Open Sans Extrabold" panose="020B0906030804020204" pitchFamily="34" charset="0"/>
                <a:cs typeface="Open Sans Extrabold" panose="020B0906030804020204" pitchFamily="34" charset="0"/>
              </a:rPr>
              <a:t>Data Minimization</a:t>
            </a:r>
          </a:p>
        </p:txBody>
      </p:sp>
      <p:sp>
        <p:nvSpPr>
          <p:cNvPr id="11" name="Rectangle 10">
            <a:extLst>
              <a:ext uri="{FF2B5EF4-FFF2-40B4-BE49-F238E27FC236}">
                <a16:creationId xmlns:a16="http://schemas.microsoft.com/office/drawing/2014/main" id="{D602931C-40CC-F00B-8CE3-D1E23D64A0E2}"/>
              </a:ext>
            </a:extLst>
          </p:cNvPr>
          <p:cNvSpPr/>
          <p:nvPr/>
        </p:nvSpPr>
        <p:spPr>
          <a:xfrm>
            <a:off x="912547" y="5203700"/>
            <a:ext cx="1603773" cy="109728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AU" sz="1400" b="1" dirty="0">
                <a:solidFill>
                  <a:prstClr val="white"/>
                </a:solidFill>
                <a:latin typeface="Open Sans Extrabold" panose="020B0906030804020204" pitchFamily="34" charset="0"/>
                <a:ea typeface="Open Sans Extrabold" panose="020B0906030804020204" pitchFamily="34" charset="0"/>
                <a:cs typeface="Open Sans Extrabold" panose="020B0906030804020204" pitchFamily="34" charset="0"/>
              </a:rPr>
              <a:t>Purpose Limitations</a:t>
            </a:r>
          </a:p>
        </p:txBody>
      </p:sp>
      <p:sp>
        <p:nvSpPr>
          <p:cNvPr id="12" name="Rectangle 11">
            <a:extLst>
              <a:ext uri="{FF2B5EF4-FFF2-40B4-BE49-F238E27FC236}">
                <a16:creationId xmlns:a16="http://schemas.microsoft.com/office/drawing/2014/main" id="{38DDD6A4-A006-3611-B6AA-991EB65E8A4E}"/>
              </a:ext>
            </a:extLst>
          </p:cNvPr>
          <p:cNvSpPr/>
          <p:nvPr/>
        </p:nvSpPr>
        <p:spPr>
          <a:xfrm>
            <a:off x="2676330" y="2943144"/>
            <a:ext cx="9144000" cy="813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defTabSz="342900" eaLnBrk="1" fontAlgn="auto" hangingPunct="1">
              <a:spcBef>
                <a:spcPts val="0"/>
              </a:spcBef>
              <a:spcAft>
                <a:spcPts val="0"/>
              </a:spcAft>
              <a:buClr>
                <a:schemeClr val="accent1"/>
              </a:buClr>
              <a:buFont typeface="Arial" panose="020B0604020202020204" pitchFamily="34" charset="0"/>
              <a:buChar char="•"/>
              <a:defRPr/>
            </a:pPr>
            <a:r>
              <a:rPr lang="en-US" sz="1400" dirty="0">
                <a:solidFill>
                  <a:schemeClr val="tx1"/>
                </a:solidFill>
                <a:ea typeface="Open Sans" panose="020B0606030504020204" pitchFamily="34" charset="0"/>
                <a:cs typeface="Poppins" panose="00000500000000000000" pitchFamily="2" charset="0"/>
              </a:rPr>
              <a:t>Is the source data being used reliable? Is it biased?  </a:t>
            </a:r>
          </a:p>
          <a:p>
            <a:pPr marL="257175" indent="-257175" defTabSz="342900" eaLnBrk="1" fontAlgn="auto" hangingPunct="1">
              <a:spcBef>
                <a:spcPts val="0"/>
              </a:spcBef>
              <a:spcAft>
                <a:spcPts val="0"/>
              </a:spcAft>
              <a:buClr>
                <a:schemeClr val="accent1"/>
              </a:buClr>
              <a:buFont typeface="Arial" panose="020B0604020202020204" pitchFamily="34" charset="0"/>
              <a:buChar char="•"/>
              <a:defRPr/>
            </a:pPr>
            <a:r>
              <a:rPr lang="en-US" sz="1400" dirty="0">
                <a:solidFill>
                  <a:schemeClr val="tx1"/>
                </a:solidFill>
                <a:ea typeface="Open Sans" panose="020B0606030504020204" pitchFamily="34" charset="0"/>
                <a:cs typeface="Poppins" panose="00000500000000000000" pitchFamily="2" charset="0"/>
              </a:rPr>
              <a:t>What happens to your information after it is used for a response?</a:t>
            </a:r>
          </a:p>
          <a:p>
            <a:pPr marL="257175" indent="-257175" defTabSz="342900" eaLnBrk="1" fontAlgn="auto" hangingPunct="1">
              <a:spcBef>
                <a:spcPts val="0"/>
              </a:spcBef>
              <a:spcAft>
                <a:spcPts val="0"/>
              </a:spcAft>
              <a:buClr>
                <a:schemeClr val="accent1"/>
              </a:buClr>
              <a:buFont typeface="Arial" panose="020B0604020202020204" pitchFamily="34" charset="0"/>
              <a:buChar char="•"/>
              <a:defRPr/>
            </a:pPr>
            <a:r>
              <a:rPr lang="en-US" sz="1400" dirty="0">
                <a:solidFill>
                  <a:schemeClr val="tx1"/>
                </a:solidFill>
                <a:ea typeface="Open Sans" panose="020B0606030504020204" pitchFamily="34" charset="0"/>
                <a:cs typeface="Poppins" panose="00000500000000000000" pitchFamily="2" charset="0"/>
              </a:rPr>
              <a:t>Are the uses transparent, fair, and explainable?</a:t>
            </a:r>
          </a:p>
        </p:txBody>
      </p:sp>
      <p:sp>
        <p:nvSpPr>
          <p:cNvPr id="13" name="Rectangle 12">
            <a:extLst>
              <a:ext uri="{FF2B5EF4-FFF2-40B4-BE49-F238E27FC236}">
                <a16:creationId xmlns:a16="http://schemas.microsoft.com/office/drawing/2014/main" id="{E5DC3FC6-5782-603E-0C84-09AA6A6690B8}"/>
              </a:ext>
            </a:extLst>
          </p:cNvPr>
          <p:cNvSpPr/>
          <p:nvPr/>
        </p:nvSpPr>
        <p:spPr>
          <a:xfrm>
            <a:off x="2676330" y="4144310"/>
            <a:ext cx="9144000" cy="813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defTabSz="342900" eaLnBrk="1" fontAlgn="auto" hangingPunct="1">
              <a:spcBef>
                <a:spcPts val="0"/>
              </a:spcBef>
              <a:spcAft>
                <a:spcPts val="0"/>
              </a:spcAft>
              <a:buClr>
                <a:schemeClr val="accent1"/>
              </a:buClr>
              <a:buFont typeface="Arial" panose="020B0604020202020204" pitchFamily="34" charset="0"/>
              <a:buChar char="•"/>
              <a:defRPr/>
            </a:pPr>
            <a:endParaRPr lang="en-US" sz="1400" dirty="0">
              <a:solidFill>
                <a:schemeClr val="tx1"/>
              </a:solidFill>
              <a:ea typeface="Open Sans" panose="020B0606030504020204" pitchFamily="34" charset="0"/>
              <a:cs typeface="Poppins" panose="00000500000000000000" pitchFamily="2" charset="0"/>
            </a:endParaRPr>
          </a:p>
          <a:p>
            <a:pPr marL="257175" indent="-257175" defTabSz="342900" eaLnBrk="1" fontAlgn="auto" hangingPunct="1">
              <a:spcBef>
                <a:spcPts val="0"/>
              </a:spcBef>
              <a:spcAft>
                <a:spcPts val="0"/>
              </a:spcAft>
              <a:buClr>
                <a:schemeClr val="accent1"/>
              </a:buClr>
              <a:buFont typeface="Arial" panose="020B0604020202020204" pitchFamily="34" charset="0"/>
              <a:buChar char="•"/>
              <a:defRPr/>
            </a:pPr>
            <a:r>
              <a:rPr lang="en-US" sz="1400" dirty="0">
                <a:solidFill>
                  <a:schemeClr val="tx1"/>
                </a:solidFill>
                <a:ea typeface="Open Sans" panose="020B0606030504020204" pitchFamily="34" charset="0"/>
                <a:cs typeface="Poppins" panose="00000500000000000000" pitchFamily="2" charset="0"/>
              </a:rPr>
              <a:t>Many regulations require organizations not to use </a:t>
            </a:r>
            <a:r>
              <a:rPr lang="en-US" sz="1400" b="1" dirty="0">
                <a:solidFill>
                  <a:schemeClr val="accent4"/>
                </a:solidFill>
                <a:ea typeface="Open Sans" panose="020B0606030504020204" pitchFamily="34" charset="0"/>
                <a:cs typeface="Poppins" panose="00000500000000000000" pitchFamily="2" charset="0"/>
              </a:rPr>
              <a:t>more personal information than is necessary </a:t>
            </a:r>
            <a:r>
              <a:rPr lang="en-US" sz="1400" dirty="0">
                <a:solidFill>
                  <a:schemeClr val="tx1"/>
                </a:solidFill>
                <a:ea typeface="Open Sans" panose="020B0606030504020204" pitchFamily="34" charset="0"/>
                <a:cs typeface="Poppins" panose="00000500000000000000" pitchFamily="2" charset="0"/>
              </a:rPr>
              <a:t>and to minimize time data is retained</a:t>
            </a:r>
          </a:p>
          <a:p>
            <a:pPr marL="257175" indent="-257175" defTabSz="342900" eaLnBrk="1" fontAlgn="auto" hangingPunct="1">
              <a:spcBef>
                <a:spcPts val="0"/>
              </a:spcBef>
              <a:spcAft>
                <a:spcPts val="0"/>
              </a:spcAft>
              <a:buClr>
                <a:schemeClr val="accent1"/>
              </a:buClr>
              <a:buFont typeface="Arial" panose="020B0604020202020204" pitchFamily="34" charset="0"/>
              <a:buChar char="•"/>
              <a:defRPr/>
            </a:pPr>
            <a:r>
              <a:rPr lang="en-US" sz="1400" dirty="0">
                <a:solidFill>
                  <a:schemeClr val="tx1"/>
                </a:solidFill>
                <a:ea typeface="Open Sans" panose="020B0606030504020204" pitchFamily="34" charset="0"/>
                <a:cs typeface="Poppins" panose="00000500000000000000" pitchFamily="2" charset="0"/>
              </a:rPr>
              <a:t>The general principle of AI goes against these concepts</a:t>
            </a:r>
          </a:p>
          <a:p>
            <a:pPr marL="257175" indent="-257175" defTabSz="342900" eaLnBrk="1" fontAlgn="auto" hangingPunct="1">
              <a:spcBef>
                <a:spcPts val="0"/>
              </a:spcBef>
              <a:spcAft>
                <a:spcPts val="0"/>
              </a:spcAft>
              <a:buClr>
                <a:schemeClr val="accent1"/>
              </a:buClr>
              <a:buFont typeface="Arial" panose="020B0604020202020204" pitchFamily="34" charset="0"/>
              <a:buChar char="•"/>
              <a:defRPr/>
            </a:pPr>
            <a:endParaRPr lang="en-US" sz="1400" dirty="0">
              <a:solidFill>
                <a:schemeClr val="tx1"/>
              </a:solidFill>
              <a:ea typeface="Open Sans" panose="020B0606030504020204" pitchFamily="34" charset="0"/>
              <a:cs typeface="Poppins" panose="00000500000000000000" pitchFamily="2" charset="0"/>
            </a:endParaRPr>
          </a:p>
        </p:txBody>
      </p:sp>
      <p:sp>
        <p:nvSpPr>
          <p:cNvPr id="14" name="Rectangle 13">
            <a:extLst>
              <a:ext uri="{FF2B5EF4-FFF2-40B4-BE49-F238E27FC236}">
                <a16:creationId xmlns:a16="http://schemas.microsoft.com/office/drawing/2014/main" id="{D9F20597-C586-62C7-46D8-45723CB42CA8}"/>
              </a:ext>
            </a:extLst>
          </p:cNvPr>
          <p:cNvSpPr/>
          <p:nvPr/>
        </p:nvSpPr>
        <p:spPr>
          <a:xfrm>
            <a:off x="2676330" y="5345476"/>
            <a:ext cx="9144000" cy="813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57175" indent="-257175" defTabSz="342900" eaLnBrk="1" fontAlgn="auto" hangingPunct="1">
              <a:spcBef>
                <a:spcPts val="0"/>
              </a:spcBef>
              <a:spcAft>
                <a:spcPts val="0"/>
              </a:spcAft>
              <a:buClr>
                <a:schemeClr val="accent1"/>
              </a:buClr>
              <a:buFont typeface="Arial" panose="020B0604020202020204" pitchFamily="34" charset="0"/>
              <a:buChar char="•"/>
              <a:defRPr/>
            </a:pPr>
            <a:r>
              <a:rPr lang="en-US" sz="1400" dirty="0">
                <a:solidFill>
                  <a:schemeClr val="tx1"/>
                </a:solidFill>
                <a:ea typeface="Open Sans" panose="020B0606030504020204" pitchFamily="34" charset="0"/>
                <a:cs typeface="Poppins" panose="00000500000000000000" pitchFamily="2" charset="0"/>
              </a:rPr>
              <a:t>Is the use of personal information in AI the same as the purpose for which the information was disclosed?</a:t>
            </a:r>
          </a:p>
        </p:txBody>
      </p:sp>
      <p:sp>
        <p:nvSpPr>
          <p:cNvPr id="15" name="Rectangle 14">
            <a:extLst>
              <a:ext uri="{FF2B5EF4-FFF2-40B4-BE49-F238E27FC236}">
                <a16:creationId xmlns:a16="http://schemas.microsoft.com/office/drawing/2014/main" id="{80647FAA-1A2B-8731-A2F1-32427C079C9C}"/>
              </a:ext>
            </a:extLst>
          </p:cNvPr>
          <p:cNvSpPr/>
          <p:nvPr/>
        </p:nvSpPr>
        <p:spPr>
          <a:xfrm>
            <a:off x="2672777" y="1741976"/>
            <a:ext cx="9147553" cy="8137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342900" eaLnBrk="1" fontAlgn="auto" hangingPunct="1">
              <a:spcBef>
                <a:spcPts val="0"/>
              </a:spcBef>
              <a:spcAft>
                <a:spcPts val="0"/>
              </a:spcAft>
              <a:buClr>
                <a:schemeClr val="accent1"/>
              </a:buClr>
              <a:buFont typeface="Arial" panose="020B0604020202020204" pitchFamily="34" charset="0"/>
              <a:buChar char="•"/>
              <a:defRPr/>
            </a:pPr>
            <a:r>
              <a:rPr lang="en-US" sz="1400" dirty="0">
                <a:solidFill>
                  <a:schemeClr val="tx1"/>
                </a:solidFill>
                <a:cs typeface="Poppins" panose="00000500000000000000" pitchFamily="2" charset="0"/>
              </a:rPr>
              <a:t>Many state privacy and other laws have </a:t>
            </a:r>
            <a:r>
              <a:rPr lang="en-US" sz="1400" b="1" dirty="0">
                <a:solidFill>
                  <a:schemeClr val="accent1"/>
                </a:solidFill>
                <a:cs typeface="Poppins" panose="00000500000000000000" pitchFamily="2" charset="0"/>
              </a:rPr>
              <a:t>increased guardrails </a:t>
            </a:r>
            <a:r>
              <a:rPr lang="en-US" sz="1400" dirty="0">
                <a:solidFill>
                  <a:schemeClr val="tx1"/>
                </a:solidFill>
                <a:cs typeface="Poppins" panose="00000500000000000000" pitchFamily="2" charset="0"/>
              </a:rPr>
              <a:t>around using automated decision-making</a:t>
            </a:r>
          </a:p>
          <a:p>
            <a:pPr marL="214313" indent="-214313" defTabSz="342900" eaLnBrk="1" fontAlgn="auto" hangingPunct="1">
              <a:spcBef>
                <a:spcPts val="0"/>
              </a:spcBef>
              <a:spcAft>
                <a:spcPts val="0"/>
              </a:spcAft>
              <a:buClr>
                <a:schemeClr val="accent1"/>
              </a:buClr>
              <a:buFont typeface="Arial" panose="020B0604020202020204" pitchFamily="34" charset="0"/>
              <a:buChar char="•"/>
              <a:defRPr/>
            </a:pPr>
            <a:r>
              <a:rPr lang="en-US" sz="1400" dirty="0">
                <a:solidFill>
                  <a:schemeClr val="tx1"/>
                </a:solidFill>
                <a:cs typeface="Poppins" panose="00000500000000000000" pitchFamily="2" charset="0"/>
              </a:rPr>
              <a:t>Does AI usage </a:t>
            </a:r>
            <a:r>
              <a:rPr lang="en-US" sz="1400" b="1" dirty="0">
                <a:solidFill>
                  <a:schemeClr val="accent1"/>
                </a:solidFill>
                <a:cs typeface="Poppins" panose="00000500000000000000" pitchFamily="2" charset="0"/>
              </a:rPr>
              <a:t>comply with privacy rights</a:t>
            </a:r>
            <a:r>
              <a:rPr lang="en-US" sz="1400" dirty="0">
                <a:solidFill>
                  <a:schemeClr val="tx1"/>
                </a:solidFill>
                <a:cs typeface="Poppins" panose="00000500000000000000" pitchFamily="2" charset="0"/>
              </a:rPr>
              <a:t>? Potential opt-outs?</a:t>
            </a:r>
          </a:p>
        </p:txBody>
      </p:sp>
    </p:spTree>
    <p:extLst>
      <p:ext uri="{BB962C8B-B14F-4D97-AF65-F5344CB8AC3E}">
        <p14:creationId xmlns:p14="http://schemas.microsoft.com/office/powerpoint/2010/main" val="17788526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1BAC10-E576-E82D-BDDC-2E894E532DA8}"/>
              </a:ext>
            </a:extLst>
          </p:cNvPr>
          <p:cNvSpPr>
            <a:spLocks noGrp="1"/>
          </p:cNvSpPr>
          <p:nvPr>
            <p:ph type="body" sz="quarter" idx="12"/>
          </p:nvPr>
        </p:nvSpPr>
        <p:spPr/>
        <p:txBody>
          <a:bodyPr/>
          <a:lstStyle/>
          <a:p>
            <a:r>
              <a:rPr lang="en-US" dirty="0">
                <a:cs typeface="Poppins" panose="00000500000000000000" pitchFamily="2" charset="0"/>
              </a:rPr>
              <a:t>EMPLOYMENT/HR</a:t>
            </a:r>
          </a:p>
        </p:txBody>
      </p:sp>
    </p:spTree>
    <p:extLst>
      <p:ext uri="{BB962C8B-B14F-4D97-AF65-F5344CB8AC3E}">
        <p14:creationId xmlns:p14="http://schemas.microsoft.com/office/powerpoint/2010/main" val="106571356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BB30DD-CE1A-5EEB-571E-F3D4B641D4FC}"/>
              </a:ext>
            </a:extLst>
          </p:cNvPr>
          <p:cNvSpPr>
            <a:spLocks noGrp="1"/>
          </p:cNvSpPr>
          <p:nvPr>
            <p:ph type="body" sz="quarter" idx="10"/>
          </p:nvPr>
        </p:nvSpPr>
        <p:spPr/>
        <p:txBody>
          <a:bodyPr/>
          <a:lstStyle/>
          <a:p>
            <a:r>
              <a:rPr lang="en-US" dirty="0"/>
              <a:t>AI EMPLOYMENT ISSUES</a:t>
            </a:r>
          </a:p>
        </p:txBody>
      </p:sp>
      <p:sp>
        <p:nvSpPr>
          <p:cNvPr id="4" name="Text Placeholder 3">
            <a:extLst>
              <a:ext uri="{FF2B5EF4-FFF2-40B4-BE49-F238E27FC236}">
                <a16:creationId xmlns:a16="http://schemas.microsoft.com/office/drawing/2014/main" id="{AC86843B-98B3-588E-48D2-194CA907B451}"/>
              </a:ext>
            </a:extLst>
          </p:cNvPr>
          <p:cNvSpPr>
            <a:spLocks noGrp="1"/>
          </p:cNvSpPr>
          <p:nvPr>
            <p:ph type="body" sz="quarter" idx="61"/>
          </p:nvPr>
        </p:nvSpPr>
        <p:spPr>
          <a:xfrm>
            <a:off x="4953000" y="304800"/>
            <a:ext cx="6858000" cy="5810250"/>
          </a:xfrm>
        </p:spPr>
        <p:txBody>
          <a:bodyPr>
            <a:normAutofit fontScale="85000" lnSpcReduction="20000"/>
          </a:bodyPr>
          <a:lstStyle/>
          <a:p>
            <a:pPr marL="0" indent="0">
              <a:buNone/>
            </a:pPr>
            <a:r>
              <a:rPr lang="en-US" b="1" dirty="0">
                <a:solidFill>
                  <a:schemeClr val="accent1"/>
                </a:solidFill>
              </a:rPr>
              <a:t>Employee Access/Use</a:t>
            </a:r>
          </a:p>
          <a:p>
            <a:r>
              <a:rPr lang="en-US" dirty="0"/>
              <a:t>Do you allow (or encourage) your employees to use AI?</a:t>
            </a:r>
          </a:p>
          <a:p>
            <a:r>
              <a:rPr lang="en-US" dirty="0"/>
              <a:t>If so, what guardrails do you put in place?</a:t>
            </a:r>
          </a:p>
          <a:p>
            <a:r>
              <a:rPr lang="en-US" dirty="0"/>
              <a:t>Have you updated your acceptable use policy?</a:t>
            </a:r>
          </a:p>
          <a:p>
            <a:r>
              <a:rPr lang="en-US" dirty="0"/>
              <a:t>What AI tools do you make available?</a:t>
            </a:r>
          </a:p>
          <a:p>
            <a:endParaRPr lang="en-US" dirty="0"/>
          </a:p>
          <a:p>
            <a:pPr marL="0" indent="0">
              <a:buNone/>
            </a:pPr>
            <a:r>
              <a:rPr lang="en-US" sz="2100" b="1" dirty="0">
                <a:solidFill>
                  <a:schemeClr val="accent1"/>
                </a:solidFill>
              </a:rPr>
              <a:t>Protecting Company Data/Trade Secrets</a:t>
            </a:r>
          </a:p>
          <a:p>
            <a:r>
              <a:rPr lang="en-US" dirty="0"/>
              <a:t>How do you ensure company data or trade secrets are protected?</a:t>
            </a:r>
          </a:p>
          <a:p>
            <a:r>
              <a:rPr lang="en-US" dirty="0"/>
              <a:t>How do you protect personal or sensitive information of customers?</a:t>
            </a:r>
          </a:p>
          <a:p>
            <a:endParaRPr lang="en-US" dirty="0"/>
          </a:p>
          <a:p>
            <a:pPr marL="0" indent="0">
              <a:buNone/>
            </a:pPr>
            <a:r>
              <a:rPr lang="en-US" sz="2100" b="1" dirty="0">
                <a:solidFill>
                  <a:schemeClr val="accent1"/>
                </a:solidFill>
              </a:rPr>
              <a:t>Internal HR Uses</a:t>
            </a:r>
          </a:p>
          <a:p>
            <a:r>
              <a:rPr lang="en-US" dirty="0"/>
              <a:t>Recruiting and hiring</a:t>
            </a:r>
          </a:p>
          <a:p>
            <a:pPr lvl="1"/>
            <a:r>
              <a:rPr lang="en-US" dirty="0"/>
              <a:t>Finding/screening candidates, assessing candidates through games, chatbots to answer questions</a:t>
            </a:r>
          </a:p>
          <a:p>
            <a:r>
              <a:rPr lang="en-US" dirty="0"/>
              <a:t>Managing employee performance</a:t>
            </a:r>
          </a:p>
          <a:p>
            <a:pPr lvl="1"/>
            <a:r>
              <a:rPr lang="en-US" dirty="0"/>
              <a:t>Assessing productivity and performance, selecting employees for promotion, identifying misconduct, etc.</a:t>
            </a:r>
          </a:p>
          <a:p>
            <a:r>
              <a:rPr lang="en-US" dirty="0"/>
              <a:t>What policies are in place to avoid bias/discrimination?</a:t>
            </a:r>
          </a:p>
          <a:p>
            <a:r>
              <a:rPr lang="en-US" dirty="0"/>
              <a:t>EEOC has issued guidance that employers bear the burden of compliance with AI employment tools.</a:t>
            </a:r>
          </a:p>
          <a:p>
            <a:pPr lvl="1"/>
            <a:r>
              <a:rPr lang="en-US" dirty="0"/>
              <a:t>Bias does not have to be intentional to be illegal</a:t>
            </a:r>
          </a:p>
        </p:txBody>
      </p:sp>
    </p:spTree>
    <p:extLst>
      <p:ext uri="{BB962C8B-B14F-4D97-AF65-F5344CB8AC3E}">
        <p14:creationId xmlns:p14="http://schemas.microsoft.com/office/powerpoint/2010/main" val="10937016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C7A49F-DC43-4239-A5A4-357C5441D612}"/>
              </a:ext>
            </a:extLst>
          </p:cNvPr>
          <p:cNvSpPr>
            <a:spLocks noGrp="1"/>
          </p:cNvSpPr>
          <p:nvPr>
            <p:ph type="body" sz="quarter" idx="12"/>
          </p:nvPr>
        </p:nvSpPr>
        <p:spPr/>
        <p:txBody>
          <a:bodyPr/>
          <a:lstStyle/>
          <a:p>
            <a:r>
              <a:rPr lang="en-US" dirty="0"/>
              <a:t>INTELLECTUAL PROPERTY</a:t>
            </a:r>
          </a:p>
        </p:txBody>
      </p:sp>
    </p:spTree>
    <p:extLst>
      <p:ext uri="{BB962C8B-B14F-4D97-AF65-F5344CB8AC3E}">
        <p14:creationId xmlns:p14="http://schemas.microsoft.com/office/powerpoint/2010/main" val="39667058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BE2499-A549-3670-144C-46985B7E5E9B}"/>
              </a:ext>
            </a:extLst>
          </p:cNvPr>
          <p:cNvSpPr>
            <a:spLocks noGrp="1"/>
          </p:cNvSpPr>
          <p:nvPr>
            <p:ph type="body" sz="quarter" idx="10"/>
          </p:nvPr>
        </p:nvSpPr>
        <p:spPr/>
        <p:txBody>
          <a:bodyPr/>
          <a:lstStyle/>
          <a:p>
            <a:r>
              <a:rPr lang="en-US" dirty="0"/>
              <a:t>INTELLECTUAL PROPERTY ISSUES + AI</a:t>
            </a:r>
          </a:p>
        </p:txBody>
      </p:sp>
      <p:sp>
        <p:nvSpPr>
          <p:cNvPr id="4" name="Text Placeholder 3">
            <a:extLst>
              <a:ext uri="{FF2B5EF4-FFF2-40B4-BE49-F238E27FC236}">
                <a16:creationId xmlns:a16="http://schemas.microsoft.com/office/drawing/2014/main" id="{F6541495-BCD9-F509-B810-61097DECCE04}"/>
              </a:ext>
            </a:extLst>
          </p:cNvPr>
          <p:cNvSpPr>
            <a:spLocks noGrp="1"/>
          </p:cNvSpPr>
          <p:nvPr>
            <p:ph type="body" sz="quarter" idx="61"/>
          </p:nvPr>
        </p:nvSpPr>
        <p:spPr/>
        <p:txBody>
          <a:bodyPr>
            <a:noAutofit/>
          </a:bodyPr>
          <a:lstStyle/>
          <a:p>
            <a:pPr marL="0" indent="0">
              <a:buNone/>
            </a:pPr>
            <a:r>
              <a:rPr lang="en-US" sz="1800" b="1" dirty="0">
                <a:solidFill>
                  <a:schemeClr val="accent1"/>
                </a:solidFill>
              </a:rPr>
              <a:t>Rights of Use Issues for Input and Prompting</a:t>
            </a:r>
          </a:p>
          <a:p>
            <a:r>
              <a:rPr lang="en-US" sz="1800" dirty="0"/>
              <a:t>Many platforms train models on data </a:t>
            </a:r>
            <a:r>
              <a:rPr lang="en-US" sz="1800" b="1" dirty="0">
                <a:solidFill>
                  <a:schemeClr val="accent5"/>
                </a:solidFill>
              </a:rPr>
              <a:t>compiled from web scraping</a:t>
            </a:r>
            <a:r>
              <a:rPr lang="en-US" sz="1800" dirty="0"/>
              <a:t> which may contain copyrighted creations.</a:t>
            </a:r>
          </a:p>
          <a:p>
            <a:r>
              <a:rPr lang="en-US" sz="1800" dirty="0"/>
              <a:t>Can AI platforms use unlicensed content in training data?</a:t>
            </a:r>
          </a:p>
          <a:p>
            <a:r>
              <a:rPr lang="en-US" sz="1800" dirty="0"/>
              <a:t>Should users be able to prompt tools with direct reference to copyrighted + trademarked works without permission?</a:t>
            </a:r>
          </a:p>
          <a:p>
            <a:endParaRPr lang="en-US" sz="1800" b="1" dirty="0">
              <a:solidFill>
                <a:schemeClr val="accent1"/>
              </a:solidFill>
            </a:endParaRPr>
          </a:p>
          <a:p>
            <a:pPr marL="0" indent="0">
              <a:buNone/>
            </a:pPr>
            <a:r>
              <a:rPr lang="en-US" sz="1800" b="1" dirty="0">
                <a:solidFill>
                  <a:schemeClr val="accent1"/>
                </a:solidFill>
              </a:rPr>
              <a:t>Who has rights in the output?</a:t>
            </a:r>
          </a:p>
          <a:p>
            <a:r>
              <a:rPr lang="en-US" sz="1800" dirty="0"/>
              <a:t>Content creators have entered into licensing agreements with AI companies.</a:t>
            </a:r>
          </a:p>
          <a:p>
            <a:r>
              <a:rPr lang="en-US" sz="1800" dirty="0"/>
              <a:t>Are there fair use exceptions to using content for generative AI/LLMs?</a:t>
            </a:r>
          </a:p>
          <a:p>
            <a:r>
              <a:rPr lang="en-US" sz="1800" dirty="0"/>
              <a:t>Unable to patent as laws limit inventorship to human beings (</a:t>
            </a:r>
            <a:r>
              <a:rPr lang="en-US" sz="1800" i="1" dirty="0"/>
              <a:t>Thaler v. Vidal</a:t>
            </a:r>
            <a:r>
              <a:rPr lang="en-US" sz="1800" dirty="0"/>
              <a:t>). An inventor </a:t>
            </a:r>
            <a:r>
              <a:rPr lang="en-US" sz="1800" b="1" dirty="0">
                <a:solidFill>
                  <a:schemeClr val="accent5"/>
                </a:solidFill>
              </a:rPr>
              <a:t>must be an individual</a:t>
            </a:r>
            <a:r>
              <a:rPr lang="en-US" sz="1800" dirty="0"/>
              <a:t>.</a:t>
            </a:r>
          </a:p>
          <a:p>
            <a:r>
              <a:rPr lang="en-US" sz="1800" dirty="0"/>
              <a:t>U.S. Copyright Office issued a statement requiring copyright applicants who use AI to disclose the inclusion of AI-generated content and explain the human author’s contributions to the work.</a:t>
            </a:r>
          </a:p>
          <a:p>
            <a:endParaRPr lang="en-US" sz="1800" dirty="0"/>
          </a:p>
        </p:txBody>
      </p:sp>
    </p:spTree>
    <p:extLst>
      <p:ext uri="{BB962C8B-B14F-4D97-AF65-F5344CB8AC3E}">
        <p14:creationId xmlns:p14="http://schemas.microsoft.com/office/powerpoint/2010/main" val="16169481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BE2499-A549-3670-144C-46985B7E5E9B}"/>
              </a:ext>
            </a:extLst>
          </p:cNvPr>
          <p:cNvSpPr>
            <a:spLocks noGrp="1"/>
          </p:cNvSpPr>
          <p:nvPr>
            <p:ph type="body" sz="quarter" idx="10"/>
          </p:nvPr>
        </p:nvSpPr>
        <p:spPr/>
        <p:txBody>
          <a:bodyPr/>
          <a:lstStyle/>
          <a:p>
            <a:r>
              <a:rPr lang="en-US" dirty="0"/>
              <a:t>IP LITIGATION AGAINST AI PLATFORMS</a:t>
            </a:r>
          </a:p>
        </p:txBody>
      </p:sp>
      <p:sp>
        <p:nvSpPr>
          <p:cNvPr id="4" name="Text Placeholder 3">
            <a:extLst>
              <a:ext uri="{FF2B5EF4-FFF2-40B4-BE49-F238E27FC236}">
                <a16:creationId xmlns:a16="http://schemas.microsoft.com/office/drawing/2014/main" id="{F6541495-BCD9-F509-B810-61097DECCE04}"/>
              </a:ext>
            </a:extLst>
          </p:cNvPr>
          <p:cNvSpPr>
            <a:spLocks noGrp="1"/>
          </p:cNvSpPr>
          <p:nvPr>
            <p:ph type="body" sz="quarter" idx="61"/>
          </p:nvPr>
        </p:nvSpPr>
        <p:spPr>
          <a:xfrm>
            <a:off x="4953000" y="221942"/>
            <a:ext cx="6858000" cy="5893108"/>
          </a:xfrm>
        </p:spPr>
        <p:txBody>
          <a:bodyPr>
            <a:noAutofit/>
          </a:bodyPr>
          <a:lstStyle/>
          <a:p>
            <a:pPr marL="0" indent="0">
              <a:buNone/>
            </a:pPr>
            <a:r>
              <a:rPr lang="en-US" sz="1800" b="1" dirty="0">
                <a:solidFill>
                  <a:srgbClr val="FF0000"/>
                </a:solidFill>
              </a:rPr>
              <a:t>NYT vs. OpenAI</a:t>
            </a:r>
          </a:p>
          <a:p>
            <a:r>
              <a:rPr lang="en-US" sz="1800" dirty="0"/>
              <a:t>Lawsuit alleges that OpenAI’s “commercial success is built in large part on </a:t>
            </a:r>
            <a:r>
              <a:rPr lang="en-US" sz="1800" b="1" dirty="0">
                <a:solidFill>
                  <a:schemeClr val="accent5"/>
                </a:solidFill>
              </a:rPr>
              <a:t>OpenAI’s large-scale copyright infringement” </a:t>
            </a:r>
            <a:r>
              <a:rPr lang="en-US" sz="1800" dirty="0"/>
              <a:t>containing copies of NYT’s content and routinely summarizes NYT content. </a:t>
            </a:r>
          </a:p>
          <a:p>
            <a:r>
              <a:rPr lang="en-US" sz="1800" dirty="0"/>
              <a:t>Similar case by Chicago Tribune and other newspapers </a:t>
            </a:r>
            <a:r>
              <a:rPr lang="en-US" sz="1800" b="1" dirty="0">
                <a:solidFill>
                  <a:schemeClr val="accent5"/>
                </a:solidFill>
              </a:rPr>
              <a:t>against OpenAI and Microsoft </a:t>
            </a:r>
            <a:r>
              <a:rPr lang="en-US" sz="1800" dirty="0"/>
              <a:t>alleging misuse of reporters’ work to train AI systems.</a:t>
            </a:r>
          </a:p>
          <a:p>
            <a:endParaRPr lang="en-US" sz="1800" dirty="0"/>
          </a:p>
          <a:p>
            <a:pPr marL="0" indent="0">
              <a:buNone/>
            </a:pPr>
            <a:r>
              <a:rPr lang="en-US" sz="1800" b="1" dirty="0">
                <a:solidFill>
                  <a:srgbClr val="FF0000"/>
                </a:solidFill>
              </a:rPr>
              <a:t>Universal Music Group vs. Anthropic</a:t>
            </a:r>
          </a:p>
          <a:p>
            <a:r>
              <a:rPr lang="en-US" sz="1800" dirty="0"/>
              <a:t>Allegations that Anthropic </a:t>
            </a:r>
            <a:r>
              <a:rPr lang="en-US" sz="1800" b="1" dirty="0">
                <a:solidFill>
                  <a:schemeClr val="accent5"/>
                </a:solidFill>
              </a:rPr>
              <a:t>used lyrics from over 500 copyrighted songs</a:t>
            </a:r>
            <a:r>
              <a:rPr lang="en-US" sz="1800" dirty="0"/>
              <a:t> to train its chatbot Claude.</a:t>
            </a:r>
          </a:p>
          <a:p>
            <a:r>
              <a:rPr lang="en-US" sz="1800" dirty="0"/>
              <a:t>Anthropic has said it has </a:t>
            </a:r>
            <a:r>
              <a:rPr lang="en-US" sz="1800" b="1" dirty="0">
                <a:solidFill>
                  <a:schemeClr val="accent5"/>
                </a:solidFill>
              </a:rPr>
              <a:t>measures in place to prevent generation of copyrighted material </a:t>
            </a:r>
            <a:r>
              <a:rPr lang="en-US" sz="1800" dirty="0"/>
              <a:t>and, if measures failed in the past, it was a “bug” and not a “feature” of product</a:t>
            </a:r>
          </a:p>
          <a:p>
            <a:pPr marL="0" indent="0">
              <a:buNone/>
            </a:pPr>
            <a:endParaRPr lang="en-US" sz="1800" dirty="0"/>
          </a:p>
          <a:p>
            <a:pPr marL="0" indent="0">
              <a:buNone/>
            </a:pPr>
            <a:r>
              <a:rPr lang="en-US" sz="1800" b="1" dirty="0">
                <a:solidFill>
                  <a:srgbClr val="FF0000"/>
                </a:solidFill>
              </a:rPr>
              <a:t>Primary Issues</a:t>
            </a:r>
          </a:p>
          <a:p>
            <a:r>
              <a:rPr lang="en-US" sz="1800" dirty="0"/>
              <a:t>What is a “</a:t>
            </a:r>
            <a:r>
              <a:rPr lang="en-US" sz="1800" b="1" dirty="0">
                <a:solidFill>
                  <a:schemeClr val="accent5"/>
                </a:solidFill>
              </a:rPr>
              <a:t>derivative work</a:t>
            </a:r>
            <a:r>
              <a:rPr lang="en-US" sz="1800" dirty="0"/>
              <a:t>” and is the output considered “</a:t>
            </a:r>
            <a:r>
              <a:rPr lang="en-US" sz="1800" b="1" dirty="0">
                <a:solidFill>
                  <a:schemeClr val="accent5"/>
                </a:solidFill>
              </a:rPr>
              <a:t>fair use</a:t>
            </a:r>
            <a:r>
              <a:rPr lang="en-US" sz="1800" dirty="0"/>
              <a:t>”?</a:t>
            </a:r>
          </a:p>
        </p:txBody>
      </p:sp>
    </p:spTree>
    <p:extLst>
      <p:ext uri="{BB962C8B-B14F-4D97-AF65-F5344CB8AC3E}">
        <p14:creationId xmlns:p14="http://schemas.microsoft.com/office/powerpoint/2010/main" val="18554149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14C5E3-CA4C-6117-F226-7F93D14A2E4F}"/>
              </a:ext>
            </a:extLst>
          </p:cNvPr>
          <p:cNvSpPr>
            <a:spLocks noGrp="1"/>
          </p:cNvSpPr>
          <p:nvPr>
            <p:ph type="body" sz="quarter" idx="12"/>
          </p:nvPr>
        </p:nvSpPr>
        <p:spPr/>
        <p:txBody>
          <a:bodyPr/>
          <a:lstStyle/>
          <a:p>
            <a:r>
              <a:rPr lang="en-US" dirty="0"/>
              <a:t>CONTRACTS</a:t>
            </a:r>
          </a:p>
        </p:txBody>
      </p:sp>
    </p:spTree>
    <p:extLst>
      <p:ext uri="{BB962C8B-B14F-4D97-AF65-F5344CB8AC3E}">
        <p14:creationId xmlns:p14="http://schemas.microsoft.com/office/powerpoint/2010/main" val="24064806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1A530E-FCF8-504A-F343-C50C394AA495}"/>
              </a:ext>
            </a:extLst>
          </p:cNvPr>
          <p:cNvSpPr>
            <a:spLocks noGrp="1"/>
          </p:cNvSpPr>
          <p:nvPr>
            <p:ph type="body" sz="quarter" idx="10"/>
          </p:nvPr>
        </p:nvSpPr>
        <p:spPr>
          <a:xfrm>
            <a:off x="301650" y="2944812"/>
            <a:ext cx="3200400" cy="854075"/>
          </a:xfrm>
        </p:spPr>
        <p:txBody>
          <a:bodyPr/>
          <a:lstStyle/>
          <a:p>
            <a:r>
              <a:rPr lang="en-US" sz="2800" dirty="0">
                <a:latin typeface="Poppins" panose="00000500000000000000" pitchFamily="2" charset="0"/>
                <a:cs typeface="Poppins" panose="00000500000000000000" pitchFamily="2" charset="0"/>
              </a:rPr>
              <a:t>AI CONTRACTUAL CONSIDERATIONS</a:t>
            </a:r>
          </a:p>
        </p:txBody>
      </p:sp>
      <p:sp>
        <p:nvSpPr>
          <p:cNvPr id="4" name="Text Placeholder 3">
            <a:extLst>
              <a:ext uri="{FF2B5EF4-FFF2-40B4-BE49-F238E27FC236}">
                <a16:creationId xmlns:a16="http://schemas.microsoft.com/office/drawing/2014/main" id="{15157566-3FBC-9AE1-7069-4A2F7D9B18F8}"/>
              </a:ext>
            </a:extLst>
          </p:cNvPr>
          <p:cNvSpPr>
            <a:spLocks noGrp="1"/>
          </p:cNvSpPr>
          <p:nvPr>
            <p:ph type="body" sz="quarter" idx="61"/>
          </p:nvPr>
        </p:nvSpPr>
        <p:spPr/>
        <p:txBody>
          <a:bodyPr>
            <a:noAutofit/>
          </a:bodyPr>
          <a:lstStyle/>
          <a:p>
            <a:pPr marL="0" indent="0">
              <a:buNone/>
            </a:pPr>
            <a:r>
              <a:rPr lang="en-US" sz="1400" b="1" dirty="0">
                <a:solidFill>
                  <a:schemeClr val="accent1"/>
                </a:solidFill>
              </a:rPr>
              <a:t>Data Obtained from Vendors Using AI</a:t>
            </a:r>
          </a:p>
          <a:p>
            <a:r>
              <a:rPr lang="en-US" sz="1400" dirty="0"/>
              <a:t>Do you track vendor AI usage?</a:t>
            </a:r>
          </a:p>
          <a:p>
            <a:r>
              <a:rPr lang="en-US" sz="1400" dirty="0"/>
              <a:t>Reps and warranties as to legitimacy of data and right to use</a:t>
            </a:r>
          </a:p>
          <a:p>
            <a:r>
              <a:rPr lang="en-US" sz="1400" dirty="0"/>
              <a:t>Indemnification?</a:t>
            </a:r>
          </a:p>
          <a:p>
            <a:r>
              <a:rPr lang="en-US" sz="1400" dirty="0"/>
              <a:t>Compliance with fluid legal landscape</a:t>
            </a:r>
          </a:p>
          <a:p>
            <a:r>
              <a:rPr lang="en-US" sz="1400" dirty="0"/>
              <a:t>Controls to prevent/limit hallucinations</a:t>
            </a:r>
          </a:p>
          <a:p>
            <a:endParaRPr lang="en-US" sz="1400" dirty="0"/>
          </a:p>
          <a:p>
            <a:pPr marL="0" indent="0">
              <a:buNone/>
            </a:pPr>
            <a:r>
              <a:rPr lang="en-US" sz="1400" b="1" dirty="0">
                <a:solidFill>
                  <a:schemeClr val="accent1"/>
                </a:solidFill>
              </a:rPr>
              <a:t>Vendors using AI to analyze or modify your data</a:t>
            </a:r>
          </a:p>
          <a:p>
            <a:r>
              <a:rPr lang="en-US" sz="1400" dirty="0"/>
              <a:t>Will your organization’s data be used to develop and train the model?</a:t>
            </a:r>
          </a:p>
          <a:p>
            <a:pPr lvl="1"/>
            <a:r>
              <a:rPr lang="en-US" sz="1400" dirty="0"/>
              <a:t>Limitations on using confidential info/PII?</a:t>
            </a:r>
          </a:p>
          <a:p>
            <a:r>
              <a:rPr lang="en-US" sz="1400" dirty="0"/>
              <a:t>Are you “selling”/“sharing” data?</a:t>
            </a:r>
          </a:p>
          <a:p>
            <a:r>
              <a:rPr lang="en-US" sz="1400" dirty="0"/>
              <a:t>Does the vendor have all necessary rights to use such data to train the model?</a:t>
            </a:r>
          </a:p>
          <a:p>
            <a:r>
              <a:rPr lang="en-US" sz="1400" dirty="0"/>
              <a:t>What will the vendor do with the inputs?</a:t>
            </a:r>
          </a:p>
          <a:p>
            <a:pPr lvl="1"/>
            <a:r>
              <a:rPr lang="en-US" sz="1400" dirty="0"/>
              <a:t>Disclose to third parties?</a:t>
            </a:r>
          </a:p>
          <a:p>
            <a:pPr lvl="1"/>
            <a:r>
              <a:rPr lang="en-US" sz="1400" dirty="0"/>
              <a:t>When will vendor delete inputs?</a:t>
            </a:r>
          </a:p>
          <a:p>
            <a:r>
              <a:rPr lang="en-US" sz="1400" dirty="0"/>
              <a:t>Audit rights?</a:t>
            </a:r>
          </a:p>
          <a:p>
            <a:endParaRPr lang="en-US" sz="1400" dirty="0"/>
          </a:p>
          <a:p>
            <a:pPr marL="0" indent="0">
              <a:buNone/>
            </a:pPr>
            <a:r>
              <a:rPr lang="en-US" sz="1400" b="1" dirty="0">
                <a:solidFill>
                  <a:schemeClr val="accent1"/>
                </a:solidFill>
              </a:rPr>
              <a:t>AI tools you use</a:t>
            </a:r>
          </a:p>
          <a:p>
            <a:r>
              <a:rPr lang="en-US" sz="1400" dirty="0"/>
              <a:t>What ethical and legal factors should be considered as part of your policy for AI decision-making? </a:t>
            </a:r>
          </a:p>
          <a:p>
            <a:r>
              <a:rPr lang="en-US" sz="1400" dirty="0"/>
              <a:t>How can you guarantee that your AI systems are transparent, just, and responsible?</a:t>
            </a:r>
          </a:p>
        </p:txBody>
      </p:sp>
    </p:spTree>
    <p:extLst>
      <p:ext uri="{BB962C8B-B14F-4D97-AF65-F5344CB8AC3E}">
        <p14:creationId xmlns:p14="http://schemas.microsoft.com/office/powerpoint/2010/main" val="34829602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CF8CC3-24C0-D9E0-5962-A5F9F55D9B9A}"/>
              </a:ext>
            </a:extLst>
          </p:cNvPr>
          <p:cNvSpPr>
            <a:spLocks noGrp="1"/>
          </p:cNvSpPr>
          <p:nvPr>
            <p:ph type="body" sz="quarter" idx="12"/>
          </p:nvPr>
        </p:nvSpPr>
        <p:spPr/>
        <p:txBody>
          <a:bodyPr/>
          <a:lstStyle/>
          <a:p>
            <a:r>
              <a:rPr lang="en-US" dirty="0"/>
              <a:t>CYBERSECURITY</a:t>
            </a:r>
          </a:p>
        </p:txBody>
      </p:sp>
    </p:spTree>
    <p:extLst>
      <p:ext uri="{BB962C8B-B14F-4D97-AF65-F5344CB8AC3E}">
        <p14:creationId xmlns:p14="http://schemas.microsoft.com/office/powerpoint/2010/main" val="40101420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5B53A72-3AA1-1E59-A652-527466DE575B}"/>
              </a:ext>
            </a:extLst>
          </p:cNvPr>
          <p:cNvSpPr>
            <a:spLocks noGrp="1"/>
          </p:cNvSpPr>
          <p:nvPr>
            <p:ph type="body" sz="quarter" idx="18"/>
          </p:nvPr>
        </p:nvSpPr>
        <p:spPr/>
        <p:txBody>
          <a:bodyPr/>
          <a:lstStyle/>
          <a:p>
            <a:pPr marL="0" indent="0">
              <a:buNone/>
            </a:pPr>
            <a:r>
              <a:rPr lang="en-US" sz="1800" b="1" dirty="0">
                <a:solidFill>
                  <a:schemeClr val="accent1"/>
                </a:solidFill>
              </a:rPr>
              <a:t>Phishing Attacks</a:t>
            </a:r>
          </a:p>
          <a:p>
            <a:r>
              <a:rPr lang="en-US" sz="1800" dirty="0"/>
              <a:t>More sophisticated, better at impersonation, challenging to detect</a:t>
            </a:r>
          </a:p>
          <a:p>
            <a:endParaRPr lang="en-US" sz="1800" dirty="0"/>
          </a:p>
          <a:p>
            <a:pPr marL="0" indent="0">
              <a:buNone/>
            </a:pPr>
            <a:r>
              <a:rPr lang="en-US" sz="1800" b="1" dirty="0">
                <a:solidFill>
                  <a:schemeClr val="accent1"/>
                </a:solidFill>
              </a:rPr>
              <a:t>Deepfakes</a:t>
            </a:r>
          </a:p>
          <a:p>
            <a:r>
              <a:rPr lang="en-US" sz="1800" dirty="0"/>
              <a:t>Impersonating company representatives, government officials, celebrities, etc.</a:t>
            </a:r>
          </a:p>
          <a:p>
            <a:r>
              <a:rPr lang="en-US" sz="1800" dirty="0"/>
              <a:t>Deepfake attacks using “face swap” technology to </a:t>
            </a:r>
            <a:r>
              <a:rPr lang="en-US" sz="1800" b="1" dirty="0">
                <a:solidFill>
                  <a:schemeClr val="accent5"/>
                </a:solidFill>
              </a:rPr>
              <a:t>bypass remote identity verification were up 704% </a:t>
            </a:r>
            <a:r>
              <a:rPr lang="en-US" sz="1800" dirty="0"/>
              <a:t>in 2023</a:t>
            </a:r>
          </a:p>
          <a:p>
            <a:endParaRPr lang="en-US" sz="1800" dirty="0"/>
          </a:p>
          <a:p>
            <a:pPr marL="0" indent="0">
              <a:buNone/>
            </a:pPr>
            <a:r>
              <a:rPr lang="en-US" sz="1800" b="1" dirty="0">
                <a:solidFill>
                  <a:schemeClr val="accent1"/>
                </a:solidFill>
              </a:rPr>
              <a:t>Undetected Malware </a:t>
            </a:r>
          </a:p>
          <a:p>
            <a:r>
              <a:rPr lang="en-US" sz="1800" dirty="0"/>
              <a:t>Goes largely undetected by standard endpoint monitoring and anti-virus software</a:t>
            </a:r>
          </a:p>
        </p:txBody>
      </p:sp>
      <p:sp>
        <p:nvSpPr>
          <p:cNvPr id="4" name="Text Placeholder 3">
            <a:extLst>
              <a:ext uri="{FF2B5EF4-FFF2-40B4-BE49-F238E27FC236}">
                <a16:creationId xmlns:a16="http://schemas.microsoft.com/office/drawing/2014/main" id="{A5505164-DF26-6A66-CBD6-70B5868983EF}"/>
              </a:ext>
            </a:extLst>
          </p:cNvPr>
          <p:cNvSpPr>
            <a:spLocks noGrp="1"/>
          </p:cNvSpPr>
          <p:nvPr>
            <p:ph type="body" sz="quarter" idx="15"/>
          </p:nvPr>
        </p:nvSpPr>
        <p:spPr/>
        <p:txBody>
          <a:bodyPr/>
          <a:lstStyle/>
          <a:p>
            <a:r>
              <a:rPr lang="en-US" dirty="0"/>
              <a:t>CYBERATTACKS POWERED BY AI</a:t>
            </a:r>
          </a:p>
        </p:txBody>
      </p:sp>
      <p:sp>
        <p:nvSpPr>
          <p:cNvPr id="5" name="Text Placeholder 4">
            <a:extLst>
              <a:ext uri="{FF2B5EF4-FFF2-40B4-BE49-F238E27FC236}">
                <a16:creationId xmlns:a16="http://schemas.microsoft.com/office/drawing/2014/main" id="{55745B45-5DD8-B752-DBFB-E10E683CA6F6}"/>
              </a:ext>
            </a:extLst>
          </p:cNvPr>
          <p:cNvSpPr>
            <a:spLocks noGrp="1"/>
          </p:cNvSpPr>
          <p:nvPr>
            <p:ph type="body" sz="quarter" idx="16"/>
          </p:nvPr>
        </p:nvSpPr>
        <p:spPr/>
        <p:txBody>
          <a:bodyPr/>
          <a:lstStyle/>
          <a:p>
            <a:endParaRPr lang="en-US"/>
          </a:p>
        </p:txBody>
      </p:sp>
      <p:pic>
        <p:nvPicPr>
          <p:cNvPr id="6" name="Picture 5">
            <a:extLst>
              <a:ext uri="{FF2B5EF4-FFF2-40B4-BE49-F238E27FC236}">
                <a16:creationId xmlns:a16="http://schemas.microsoft.com/office/drawing/2014/main" id="{67018609-E6F4-E9B9-40F8-1C52CF6E81FF}"/>
              </a:ext>
            </a:extLst>
          </p:cNvPr>
          <p:cNvPicPr>
            <a:picLocks noChangeAspect="1"/>
          </p:cNvPicPr>
          <p:nvPr/>
        </p:nvPicPr>
        <p:blipFill>
          <a:blip r:embed="rId2"/>
          <a:srcRect/>
          <a:stretch/>
        </p:blipFill>
        <p:spPr>
          <a:xfrm>
            <a:off x="390331" y="1600200"/>
            <a:ext cx="5173890" cy="410028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76231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101E0B5-1F4F-271F-CCE8-130878B2C19B}"/>
              </a:ext>
            </a:extLst>
          </p:cNvPr>
          <p:cNvSpPr>
            <a:spLocks noGrp="1"/>
          </p:cNvSpPr>
          <p:nvPr>
            <p:ph type="body" sz="quarter" idx="28"/>
          </p:nvPr>
        </p:nvSpPr>
        <p:spPr>
          <a:xfrm>
            <a:off x="390428" y="2697343"/>
            <a:ext cx="2743200" cy="3200400"/>
          </a:xfrm>
          <a:solidFill>
            <a:schemeClr val="accent4"/>
          </a:solidFill>
        </p:spPr>
        <p:txBody>
          <a:bodyPr anchor="t">
            <a:normAutofit/>
          </a:bodyPr>
          <a:lstStyle/>
          <a:p>
            <a:endParaRPr lang="en-US" sz="3200" b="1" dirty="0">
              <a:solidFill>
                <a:schemeClr val="bg2"/>
              </a:solidFill>
              <a:latin typeface="Open Sans Extrabold" panose="020B0906030804020204" pitchFamily="34" charset="0"/>
              <a:ea typeface="Open Sans Extrabold" panose="020B0906030804020204" pitchFamily="34" charset="0"/>
              <a:cs typeface="Open Sans Extrabold" panose="020B0906030804020204" pitchFamily="34" charset="0"/>
            </a:endParaRPr>
          </a:p>
          <a:p>
            <a:r>
              <a:rPr lang="en-US" sz="3200" b="1" dirty="0">
                <a:solidFill>
                  <a:schemeClr val="bg2"/>
                </a:solidFill>
                <a:latin typeface="Open Sans Extrabold" panose="020B0906030804020204" pitchFamily="34" charset="0"/>
                <a:ea typeface="Open Sans Extrabold" panose="020B0906030804020204" pitchFamily="34" charset="0"/>
                <a:cs typeface="Open Sans Extrabold" panose="020B0906030804020204" pitchFamily="34" charset="0"/>
              </a:rPr>
              <a:t>$638B</a:t>
            </a:r>
          </a:p>
          <a:p>
            <a:r>
              <a:rPr lang="en-US" sz="1600" dirty="0">
                <a:solidFill>
                  <a:schemeClr val="bg2"/>
                </a:solidFill>
              </a:rPr>
              <a:t>Expected value of global AI market by end of 2024</a:t>
            </a:r>
          </a:p>
        </p:txBody>
      </p:sp>
      <p:sp>
        <p:nvSpPr>
          <p:cNvPr id="7" name="Text Placeholder 6">
            <a:extLst>
              <a:ext uri="{FF2B5EF4-FFF2-40B4-BE49-F238E27FC236}">
                <a16:creationId xmlns:a16="http://schemas.microsoft.com/office/drawing/2014/main" id="{BBD06CB2-50F8-0859-57AB-251362FC5EDF}"/>
              </a:ext>
            </a:extLst>
          </p:cNvPr>
          <p:cNvSpPr>
            <a:spLocks noGrp="1"/>
          </p:cNvSpPr>
          <p:nvPr>
            <p:ph type="body" sz="quarter" idx="29"/>
          </p:nvPr>
        </p:nvSpPr>
        <p:spPr>
          <a:xfrm>
            <a:off x="3279321" y="2697343"/>
            <a:ext cx="2743200" cy="3200400"/>
          </a:xfrm>
          <a:solidFill>
            <a:schemeClr val="accent3"/>
          </a:solidFill>
        </p:spPr>
        <p:txBody>
          <a:bodyPr anchor="t"/>
          <a:lstStyle/>
          <a:p>
            <a:endParaRPr lang="en-US" sz="3200" b="1" dirty="0">
              <a:solidFill>
                <a:schemeClr val="bg2"/>
              </a:solidFill>
              <a:latin typeface="Open Sans Extrabold" panose="020B0906030804020204" pitchFamily="34" charset="0"/>
              <a:ea typeface="Open Sans Extrabold" panose="020B0906030804020204" pitchFamily="34" charset="0"/>
              <a:cs typeface="Open Sans Extrabold" panose="020B0906030804020204" pitchFamily="34" charset="0"/>
            </a:endParaRPr>
          </a:p>
          <a:p>
            <a:r>
              <a:rPr lang="en-US" sz="3200" b="1" dirty="0">
                <a:solidFill>
                  <a:schemeClr val="bg2"/>
                </a:solidFill>
                <a:latin typeface="Open Sans Extrabold" panose="020B0906030804020204" pitchFamily="34" charset="0"/>
                <a:ea typeface="Open Sans Extrabold" panose="020B0906030804020204" pitchFamily="34" charset="0"/>
                <a:cs typeface="Open Sans Extrabold" panose="020B0906030804020204" pitchFamily="34" charset="0"/>
              </a:rPr>
              <a:t>83%</a:t>
            </a:r>
          </a:p>
          <a:p>
            <a:r>
              <a:rPr lang="en-US" sz="1600" dirty="0">
                <a:solidFill>
                  <a:schemeClr val="bg2"/>
                </a:solidFill>
              </a:rPr>
              <a:t>Businesses that claim that using AI is a priority in business strategies</a:t>
            </a:r>
          </a:p>
          <a:p>
            <a:endParaRPr lang="en-US" dirty="0">
              <a:solidFill>
                <a:schemeClr val="bg2"/>
              </a:solidFill>
            </a:endParaRPr>
          </a:p>
        </p:txBody>
      </p:sp>
      <p:sp>
        <p:nvSpPr>
          <p:cNvPr id="8" name="Text Placeholder 7">
            <a:extLst>
              <a:ext uri="{FF2B5EF4-FFF2-40B4-BE49-F238E27FC236}">
                <a16:creationId xmlns:a16="http://schemas.microsoft.com/office/drawing/2014/main" id="{6251FEF5-B224-9D39-6855-F46617906938}"/>
              </a:ext>
            </a:extLst>
          </p:cNvPr>
          <p:cNvSpPr>
            <a:spLocks noGrp="1"/>
          </p:cNvSpPr>
          <p:nvPr>
            <p:ph type="body" sz="quarter" idx="30"/>
          </p:nvPr>
        </p:nvSpPr>
        <p:spPr>
          <a:xfrm>
            <a:off x="6168117" y="2697343"/>
            <a:ext cx="2743200" cy="3200400"/>
          </a:xfrm>
          <a:solidFill>
            <a:schemeClr val="accent1"/>
          </a:solidFill>
        </p:spPr>
        <p:txBody>
          <a:bodyPr anchor="t"/>
          <a:lstStyle/>
          <a:p>
            <a:endParaRPr lang="en-US" sz="3200" b="1" dirty="0">
              <a:solidFill>
                <a:schemeClr val="bg2"/>
              </a:solidFill>
              <a:latin typeface="Open Sans Extrabold" panose="020B0906030804020204" pitchFamily="34" charset="0"/>
              <a:ea typeface="Open Sans Extrabold" panose="020B0906030804020204" pitchFamily="34" charset="0"/>
              <a:cs typeface="Open Sans Extrabold" panose="020B0906030804020204" pitchFamily="34" charset="0"/>
            </a:endParaRPr>
          </a:p>
          <a:p>
            <a:r>
              <a:rPr lang="en-US" sz="3200" b="1" dirty="0">
                <a:solidFill>
                  <a:schemeClr val="bg2"/>
                </a:solidFill>
                <a:latin typeface="Open Sans Extrabold" panose="020B0906030804020204" pitchFamily="34" charset="0"/>
                <a:ea typeface="Open Sans Extrabold" panose="020B0906030804020204" pitchFamily="34" charset="0"/>
                <a:cs typeface="Open Sans Extrabold" panose="020B0906030804020204" pitchFamily="34" charset="0"/>
              </a:rPr>
              <a:t>65%</a:t>
            </a:r>
          </a:p>
          <a:p>
            <a:r>
              <a:rPr lang="en-US" sz="1600" dirty="0">
                <a:solidFill>
                  <a:schemeClr val="bg2"/>
                </a:solidFill>
              </a:rPr>
              <a:t>Percentage of companies that are using AI internally (74% are testing it)</a:t>
            </a:r>
          </a:p>
          <a:p>
            <a:endParaRPr lang="en-US" dirty="0">
              <a:solidFill>
                <a:schemeClr val="bg2"/>
              </a:solidFill>
            </a:endParaRPr>
          </a:p>
        </p:txBody>
      </p:sp>
      <p:sp>
        <p:nvSpPr>
          <p:cNvPr id="9" name="Text Placeholder 8">
            <a:extLst>
              <a:ext uri="{FF2B5EF4-FFF2-40B4-BE49-F238E27FC236}">
                <a16:creationId xmlns:a16="http://schemas.microsoft.com/office/drawing/2014/main" id="{C8E6F622-E1D5-CDF7-A63D-A6B1DB414341}"/>
              </a:ext>
            </a:extLst>
          </p:cNvPr>
          <p:cNvSpPr>
            <a:spLocks noGrp="1"/>
          </p:cNvSpPr>
          <p:nvPr>
            <p:ph type="body" sz="quarter" idx="31"/>
          </p:nvPr>
        </p:nvSpPr>
        <p:spPr>
          <a:xfrm>
            <a:off x="9056914" y="2697343"/>
            <a:ext cx="2743200" cy="3200400"/>
          </a:xfrm>
          <a:solidFill>
            <a:schemeClr val="accent6"/>
          </a:solidFill>
        </p:spPr>
        <p:txBody>
          <a:bodyPr anchor="t"/>
          <a:lstStyle/>
          <a:p>
            <a:endParaRPr lang="en-US" sz="3200" b="1" dirty="0">
              <a:solidFill>
                <a:schemeClr val="bg2"/>
              </a:solidFill>
              <a:latin typeface="Open Sans Extrabold" panose="020B0906030804020204" pitchFamily="34" charset="0"/>
              <a:ea typeface="Open Sans Extrabold" panose="020B0906030804020204" pitchFamily="34" charset="0"/>
              <a:cs typeface="Open Sans Extrabold" panose="020B0906030804020204" pitchFamily="34" charset="0"/>
            </a:endParaRPr>
          </a:p>
          <a:p>
            <a:r>
              <a:rPr lang="en-US" sz="3200" b="1" dirty="0">
                <a:solidFill>
                  <a:schemeClr val="bg2"/>
                </a:solidFill>
                <a:latin typeface="Open Sans Extrabold" panose="020B0906030804020204" pitchFamily="34" charset="0"/>
                <a:ea typeface="Open Sans Extrabold" panose="020B0906030804020204" pitchFamily="34" charset="0"/>
                <a:cs typeface="Open Sans Extrabold" panose="020B0906030804020204" pitchFamily="34" charset="0"/>
              </a:rPr>
              <a:t>56%</a:t>
            </a:r>
          </a:p>
          <a:p>
            <a:r>
              <a:rPr lang="en-US" sz="1600" dirty="0">
                <a:solidFill>
                  <a:schemeClr val="bg2"/>
                </a:solidFill>
              </a:rPr>
              <a:t>Employees who don’t know or are unsure if their organizations have ethical standards for AI</a:t>
            </a:r>
          </a:p>
          <a:p>
            <a:endParaRPr lang="en-US" dirty="0">
              <a:solidFill>
                <a:schemeClr val="bg2"/>
              </a:solidFill>
            </a:endParaRPr>
          </a:p>
        </p:txBody>
      </p:sp>
      <p:sp>
        <p:nvSpPr>
          <p:cNvPr id="3" name="Text Placeholder 2">
            <a:extLst>
              <a:ext uri="{FF2B5EF4-FFF2-40B4-BE49-F238E27FC236}">
                <a16:creationId xmlns:a16="http://schemas.microsoft.com/office/drawing/2014/main" id="{9FFA7DE3-8F7F-5878-5118-BC40D4F9FFE4}"/>
              </a:ext>
            </a:extLst>
          </p:cNvPr>
          <p:cNvSpPr>
            <a:spLocks noGrp="1"/>
          </p:cNvSpPr>
          <p:nvPr>
            <p:ph type="body" sz="quarter" idx="15"/>
          </p:nvPr>
        </p:nvSpPr>
        <p:spPr/>
        <p:txBody>
          <a:bodyPr/>
          <a:lstStyle/>
          <a:p>
            <a:r>
              <a:rPr lang="en-US" dirty="0"/>
              <a:t>AI BY THE NUMBERS</a:t>
            </a:r>
          </a:p>
        </p:txBody>
      </p:sp>
      <p:sp>
        <p:nvSpPr>
          <p:cNvPr id="5" name="Text Placeholder 4">
            <a:extLst>
              <a:ext uri="{FF2B5EF4-FFF2-40B4-BE49-F238E27FC236}">
                <a16:creationId xmlns:a16="http://schemas.microsoft.com/office/drawing/2014/main" id="{1DF65436-2636-7905-3005-7B7FCF6B1387}"/>
              </a:ext>
            </a:extLst>
          </p:cNvPr>
          <p:cNvSpPr>
            <a:spLocks noGrp="1"/>
          </p:cNvSpPr>
          <p:nvPr>
            <p:ph type="body" sz="quarter" idx="16"/>
          </p:nvPr>
        </p:nvSpPr>
        <p:spPr/>
        <p:txBody>
          <a:bodyPr/>
          <a:lstStyle/>
          <a:p>
            <a:endParaRPr lang="en-US"/>
          </a:p>
        </p:txBody>
      </p:sp>
      <p:pic>
        <p:nvPicPr>
          <p:cNvPr id="15" name="Graphic 14">
            <a:extLst>
              <a:ext uri="{FF2B5EF4-FFF2-40B4-BE49-F238E27FC236}">
                <a16:creationId xmlns:a16="http://schemas.microsoft.com/office/drawing/2014/main" id="{AA58CC36-D058-250F-4DF9-48471881895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304828" y="1609822"/>
            <a:ext cx="914400" cy="914400"/>
          </a:xfrm>
          <a:prstGeom prst="rect">
            <a:avLst/>
          </a:prstGeom>
        </p:spPr>
      </p:pic>
      <p:pic>
        <p:nvPicPr>
          <p:cNvPr id="17" name="Graphic 16">
            <a:extLst>
              <a:ext uri="{FF2B5EF4-FFF2-40B4-BE49-F238E27FC236}">
                <a16:creationId xmlns:a16="http://schemas.microsoft.com/office/drawing/2014/main" id="{229E2D1D-27CE-6716-40CB-A506D836B6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77660" y="1609822"/>
            <a:ext cx="746522" cy="914400"/>
          </a:xfrm>
          <a:prstGeom prst="rect">
            <a:avLst/>
          </a:prstGeom>
        </p:spPr>
      </p:pic>
      <p:pic>
        <p:nvPicPr>
          <p:cNvPr id="19" name="Graphic 18">
            <a:extLst>
              <a:ext uri="{FF2B5EF4-FFF2-40B4-BE49-F238E27FC236}">
                <a16:creationId xmlns:a16="http://schemas.microsoft.com/office/drawing/2014/main" id="{89DB111D-CBCD-974C-D8ED-B320E088732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82517" y="1724122"/>
            <a:ext cx="914400" cy="800100"/>
          </a:xfrm>
          <a:prstGeom prst="rect">
            <a:avLst/>
          </a:prstGeom>
        </p:spPr>
      </p:pic>
      <p:pic>
        <p:nvPicPr>
          <p:cNvPr id="21" name="Graphic 20">
            <a:extLst>
              <a:ext uri="{FF2B5EF4-FFF2-40B4-BE49-F238E27FC236}">
                <a16:creationId xmlns:a16="http://schemas.microsoft.com/office/drawing/2014/main" id="{856F99A2-ABC5-8A65-1A24-6FD9CB0AEB8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71327" y="1609822"/>
            <a:ext cx="714375" cy="914400"/>
          </a:xfrm>
          <a:prstGeom prst="rect">
            <a:avLst/>
          </a:prstGeom>
        </p:spPr>
      </p:pic>
    </p:spTree>
    <p:extLst>
      <p:ext uri="{BB962C8B-B14F-4D97-AF65-F5344CB8AC3E}">
        <p14:creationId xmlns:p14="http://schemas.microsoft.com/office/powerpoint/2010/main" val="8500721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6F422CB-DD7E-EEBA-70D5-4F12DD743CC5}"/>
              </a:ext>
            </a:extLst>
          </p:cNvPr>
          <p:cNvSpPr>
            <a:spLocks noGrp="1"/>
          </p:cNvSpPr>
          <p:nvPr>
            <p:ph type="body" sz="quarter" idx="18"/>
          </p:nvPr>
        </p:nvSpPr>
        <p:spPr/>
        <p:txBody>
          <a:bodyPr/>
          <a:lstStyle/>
          <a:p>
            <a:r>
              <a:rPr lang="en-US" sz="1800" dirty="0"/>
              <a:t>Multinational company’s Hong Kong office recently fell victim to a deepfake scam which </a:t>
            </a:r>
            <a:r>
              <a:rPr lang="en-US" sz="1800" b="1" dirty="0">
                <a:solidFill>
                  <a:schemeClr val="accent1"/>
                </a:solidFill>
              </a:rPr>
              <a:t>resulted in a $25 million loss</a:t>
            </a:r>
            <a:r>
              <a:rPr lang="en-US" sz="1800" dirty="0"/>
              <a:t>.</a:t>
            </a:r>
          </a:p>
          <a:p>
            <a:r>
              <a:rPr lang="en-US" sz="1800" dirty="0"/>
              <a:t>Scam </a:t>
            </a:r>
            <a:r>
              <a:rPr lang="en-US" sz="1800" b="1" dirty="0">
                <a:solidFill>
                  <a:schemeClr val="accent1"/>
                </a:solidFill>
              </a:rPr>
              <a:t>recreated company’s CFO and other employees in a video conference call </a:t>
            </a:r>
            <a:r>
              <a:rPr lang="en-US" sz="1800" dirty="0"/>
              <a:t>and instructed an employee to transfer funds.</a:t>
            </a:r>
          </a:p>
          <a:p>
            <a:r>
              <a:rPr lang="en-US" sz="1800" dirty="0"/>
              <a:t>All participants on the call were </a:t>
            </a:r>
            <a:r>
              <a:rPr lang="en-US" sz="1800" b="1" dirty="0">
                <a:solidFill>
                  <a:schemeClr val="accent1"/>
                </a:solidFill>
              </a:rPr>
              <a:t>fabricated individuals </a:t>
            </a:r>
            <a:r>
              <a:rPr lang="en-US" sz="1800" dirty="0"/>
              <a:t>– except the victim that transferred the funds.  </a:t>
            </a:r>
          </a:p>
          <a:p>
            <a:r>
              <a:rPr lang="en-US" sz="1800" dirty="0"/>
              <a:t>The fraud was initially uncovered following a phishing attempt where </a:t>
            </a:r>
            <a:r>
              <a:rPr lang="en-US" sz="1800" b="1" dirty="0">
                <a:solidFill>
                  <a:schemeClr val="accent1"/>
                </a:solidFill>
              </a:rPr>
              <a:t>employee in finance department received an email from the CFO instructing </a:t>
            </a:r>
            <a:r>
              <a:rPr lang="en-US" sz="1800" dirty="0"/>
              <a:t>a secret transaction.  </a:t>
            </a:r>
          </a:p>
          <a:p>
            <a:r>
              <a:rPr lang="en-US" sz="1800" dirty="0"/>
              <a:t>Employee then completed </a:t>
            </a:r>
            <a:r>
              <a:rPr lang="en-US" sz="1800" b="1" dirty="0">
                <a:solidFill>
                  <a:schemeClr val="accent1"/>
                </a:solidFill>
              </a:rPr>
              <a:t>15 transfers </a:t>
            </a:r>
            <a:r>
              <a:rPr lang="en-US" sz="1800" dirty="0"/>
              <a:t>to 5 different bank accounts.  </a:t>
            </a:r>
          </a:p>
        </p:txBody>
      </p:sp>
      <p:sp>
        <p:nvSpPr>
          <p:cNvPr id="4" name="Text Placeholder 3">
            <a:extLst>
              <a:ext uri="{FF2B5EF4-FFF2-40B4-BE49-F238E27FC236}">
                <a16:creationId xmlns:a16="http://schemas.microsoft.com/office/drawing/2014/main" id="{A4377528-2AD5-D926-E8E0-214B4AD1514F}"/>
              </a:ext>
            </a:extLst>
          </p:cNvPr>
          <p:cNvSpPr>
            <a:spLocks noGrp="1"/>
          </p:cNvSpPr>
          <p:nvPr>
            <p:ph type="body" sz="quarter" idx="15"/>
          </p:nvPr>
        </p:nvSpPr>
        <p:spPr/>
        <p:txBody>
          <a:bodyPr/>
          <a:lstStyle/>
          <a:p>
            <a:r>
              <a:rPr lang="en-US" dirty="0"/>
              <a:t>$25 MILLION DEEPFAKE SCAM – FEBRUARY 2024</a:t>
            </a:r>
          </a:p>
        </p:txBody>
      </p:sp>
      <p:pic>
        <p:nvPicPr>
          <p:cNvPr id="1026" name="Picture 2" descr="Are Deepfakes a Genuine Threat or an Exaggerated Fear?">
            <a:extLst>
              <a:ext uri="{FF2B5EF4-FFF2-40B4-BE49-F238E27FC236}">
                <a16:creationId xmlns:a16="http://schemas.microsoft.com/office/drawing/2014/main" id="{621CEE39-814B-4E6E-BE82-8142CDFEBB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0331" y="2203314"/>
            <a:ext cx="5696292" cy="296207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60570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D18639-0357-7304-3907-7C692EFD5EE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3FC9268D-005D-F879-3B47-0EC754A7B6B3}"/>
              </a:ext>
            </a:extLst>
          </p:cNvPr>
          <p:cNvSpPr>
            <a:spLocks noGrp="1"/>
          </p:cNvSpPr>
          <p:nvPr>
            <p:ph type="body" sz="quarter" idx="12"/>
          </p:nvPr>
        </p:nvSpPr>
        <p:spPr/>
        <p:txBody>
          <a:bodyPr/>
          <a:lstStyle/>
          <a:p>
            <a:r>
              <a:rPr lang="en-US" dirty="0"/>
              <a:t>Assessing AI Tools</a:t>
            </a:r>
          </a:p>
        </p:txBody>
      </p:sp>
    </p:spTree>
    <p:extLst>
      <p:ext uri="{BB962C8B-B14F-4D97-AF65-F5344CB8AC3E}">
        <p14:creationId xmlns:p14="http://schemas.microsoft.com/office/powerpoint/2010/main" val="39560609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EDDDD7-61ED-4E4A-9F14-0B997FD7CDB7}"/>
              </a:ext>
            </a:extLst>
          </p:cNvPr>
          <p:cNvSpPr>
            <a:spLocks noGrp="1"/>
          </p:cNvSpPr>
          <p:nvPr>
            <p:ph type="body" sz="quarter" idx="15"/>
          </p:nvPr>
        </p:nvSpPr>
        <p:spPr/>
        <p:txBody>
          <a:bodyPr/>
          <a:lstStyle/>
          <a:p>
            <a:r>
              <a:rPr lang="en-US" dirty="0"/>
              <a:t>ASSESSING AI TOOLS</a:t>
            </a:r>
          </a:p>
        </p:txBody>
      </p:sp>
      <p:sp>
        <p:nvSpPr>
          <p:cNvPr id="5" name="Rectangle 4">
            <a:extLst>
              <a:ext uri="{FF2B5EF4-FFF2-40B4-BE49-F238E27FC236}">
                <a16:creationId xmlns:a16="http://schemas.microsoft.com/office/drawing/2014/main" id="{A9FFC666-ACDA-406E-871E-47C6D6A98384}"/>
              </a:ext>
            </a:extLst>
          </p:cNvPr>
          <p:cNvSpPr/>
          <p:nvPr/>
        </p:nvSpPr>
        <p:spPr>
          <a:xfrm>
            <a:off x="390331" y="1450755"/>
            <a:ext cx="2219305" cy="1391597"/>
          </a:xfrm>
          <a:prstGeom prst="rect">
            <a:avLst/>
          </a:prstGeom>
          <a:solidFill>
            <a:srgbClr val="00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2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What is the use case?</a:t>
            </a:r>
          </a:p>
        </p:txBody>
      </p:sp>
      <p:sp>
        <p:nvSpPr>
          <p:cNvPr id="6" name="Rectangle 5">
            <a:extLst>
              <a:ext uri="{FF2B5EF4-FFF2-40B4-BE49-F238E27FC236}">
                <a16:creationId xmlns:a16="http://schemas.microsoft.com/office/drawing/2014/main" id="{23531894-2A65-4860-A8AA-2AF217A06295}"/>
              </a:ext>
            </a:extLst>
          </p:cNvPr>
          <p:cNvSpPr/>
          <p:nvPr/>
        </p:nvSpPr>
        <p:spPr>
          <a:xfrm>
            <a:off x="390331" y="4720623"/>
            <a:ext cx="2219305" cy="1485612"/>
          </a:xfrm>
          <a:prstGeom prst="rect">
            <a:avLst/>
          </a:prstGeom>
          <a:solidFill>
            <a:srgbClr val="00B05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rimary Risk Areas</a:t>
            </a:r>
          </a:p>
        </p:txBody>
      </p:sp>
      <p:sp>
        <p:nvSpPr>
          <p:cNvPr id="7" name="Rectangle 6">
            <a:extLst>
              <a:ext uri="{FF2B5EF4-FFF2-40B4-BE49-F238E27FC236}">
                <a16:creationId xmlns:a16="http://schemas.microsoft.com/office/drawing/2014/main" id="{0B2AA5CD-3FD6-484A-9A75-F51F23034833}"/>
              </a:ext>
            </a:extLst>
          </p:cNvPr>
          <p:cNvSpPr/>
          <p:nvPr/>
        </p:nvSpPr>
        <p:spPr>
          <a:xfrm>
            <a:off x="2714264" y="2936919"/>
            <a:ext cx="9087405" cy="1540367"/>
          </a:xfrm>
          <a:prstGeom prst="rect">
            <a:avLst/>
          </a:prstGeom>
          <a:solidFill>
            <a:sysClr val="window" lastClr="FFFFFF"/>
          </a:solidFill>
          <a:ln w="12700" cap="flat" cmpd="sng" algn="ctr">
            <a:noFill/>
            <a:prstDash val="solid"/>
            <a:miter lim="800000"/>
          </a:ln>
          <a:effectLst/>
        </p:spPr>
        <p:txBody>
          <a:bodyPr rtlCol="0" anchor="ctr"/>
          <a:lstStyle/>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rPr>
              <a:t>What are you licensing?</a:t>
            </a: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rPr>
              <a:t>How do you assess the AI tool and what integrations are needed?</a:t>
            </a: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rPr>
              <a:t>Is the model general purpose or specific purpose that aligns with you use case?</a:t>
            </a: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rPr>
              <a:t>Does the model sit on top an LLM (ChatGPT, Anthropic, etc.)?</a:t>
            </a:r>
          </a:p>
        </p:txBody>
      </p:sp>
      <p:sp>
        <p:nvSpPr>
          <p:cNvPr id="8" name="Rectangle 7">
            <a:extLst>
              <a:ext uri="{FF2B5EF4-FFF2-40B4-BE49-F238E27FC236}">
                <a16:creationId xmlns:a16="http://schemas.microsoft.com/office/drawing/2014/main" id="{AF03D2B0-1504-4D99-81E0-83FE44AF9F9B}"/>
              </a:ext>
            </a:extLst>
          </p:cNvPr>
          <p:cNvSpPr/>
          <p:nvPr/>
        </p:nvSpPr>
        <p:spPr>
          <a:xfrm>
            <a:off x="390331" y="3085689"/>
            <a:ext cx="2219305" cy="1391597"/>
          </a:xfrm>
          <a:prstGeom prst="rect">
            <a:avLst/>
          </a:prstGeom>
          <a:solidFill>
            <a:schemeClr val="accent4">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210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Understanding the Technology</a:t>
            </a:r>
          </a:p>
        </p:txBody>
      </p:sp>
      <p:sp>
        <p:nvSpPr>
          <p:cNvPr id="9" name="Rectangle 8">
            <a:extLst>
              <a:ext uri="{FF2B5EF4-FFF2-40B4-BE49-F238E27FC236}">
                <a16:creationId xmlns:a16="http://schemas.microsoft.com/office/drawing/2014/main" id="{62BAD1CB-3CC7-4A22-AB87-2F162C1C26A3}"/>
              </a:ext>
            </a:extLst>
          </p:cNvPr>
          <p:cNvSpPr/>
          <p:nvPr/>
        </p:nvSpPr>
        <p:spPr>
          <a:xfrm>
            <a:off x="2732926" y="1448657"/>
            <a:ext cx="9267290" cy="1393696"/>
          </a:xfrm>
          <a:prstGeom prst="rect">
            <a:avLst/>
          </a:prstGeom>
          <a:solidFill>
            <a:sysClr val="window" lastClr="FFFFFF"/>
          </a:solidFill>
          <a:ln w="12700" cap="flat" cmpd="sng" algn="ctr">
            <a:noFill/>
            <a:prstDash val="solid"/>
            <a:miter lim="800000"/>
          </a:ln>
          <a:effectLst/>
        </p:spPr>
        <p:txBody>
          <a:bodyPr rtlCol="0" anchor="ctr"/>
          <a:lstStyle/>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endParaRPr kumimoji="0" lang="en-US" sz="1800" b="0" i="0" u="none" strike="noStrike" kern="0" cap="none"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endPar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endPar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rPr>
              <a:t>Is the use case internal or client facing?</a:t>
            </a: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rPr>
              <a:t>What data will you be providing to the tool?</a:t>
            </a: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rPr>
              <a:t>What output are you seeking and how will you use it?</a:t>
            </a: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endPar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801688" marR="0" lvl="1"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endPar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457200" marR="0" lvl="1" indent="0" algn="l" defTabSz="914400" rtl="0" eaLnBrk="1" fontAlgn="auto" latinLnBrk="0" hangingPunct="1">
              <a:lnSpc>
                <a:spcPct val="100000"/>
              </a:lnSpc>
              <a:spcBef>
                <a:spcPts val="0"/>
              </a:spcBef>
              <a:spcAft>
                <a:spcPts val="0"/>
              </a:spcAft>
              <a:buClr>
                <a:srgbClr val="006983"/>
              </a:buClr>
              <a:buSzTx/>
              <a:buFontTx/>
              <a:buNone/>
              <a:tabLst/>
              <a:defRPr/>
            </a:pPr>
            <a:endParaRPr kumimoji="0" lang="en-US" sz="20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4CAEFF59-EC7D-44E1-AA30-D53EDCFA096F}"/>
              </a:ext>
            </a:extLst>
          </p:cNvPr>
          <p:cNvSpPr/>
          <p:nvPr/>
        </p:nvSpPr>
        <p:spPr>
          <a:xfrm>
            <a:off x="2732926" y="4899991"/>
            <a:ext cx="8854237" cy="1212228"/>
          </a:xfrm>
          <a:prstGeom prst="rect">
            <a:avLst/>
          </a:prstGeom>
          <a:solidFill>
            <a:sysClr val="window" lastClr="FFFFFF"/>
          </a:solidFill>
          <a:ln w="12700" cap="flat" cmpd="sng" algn="ctr">
            <a:noFill/>
            <a:prstDash val="solid"/>
            <a:miter lim="800000"/>
          </a:ln>
          <a:effectLst/>
        </p:spPr>
        <p:txBody>
          <a:bodyPr rtlCol="0" anchor="ctr"/>
          <a:lstStyle/>
          <a:p>
            <a:pPr marL="344488" marR="0" lvl="0" indent="-344488" algn="l" defTabSz="914400" rtl="0" eaLnBrk="1" fontAlgn="auto" latinLnBrk="0" hangingPunct="1">
              <a:lnSpc>
                <a:spcPct val="90000"/>
              </a:lnSpc>
              <a:spcBef>
                <a:spcPts val="1000"/>
              </a:spcBef>
              <a:spcAft>
                <a:spcPts val="0"/>
              </a:spcAft>
              <a:buClr>
                <a:srgbClr val="D52B1E"/>
              </a:buClr>
              <a:buSzTx/>
              <a:buFont typeface="Arial" panose="020B0604020202020204" pitchFamily="34" charset="0"/>
              <a:buChar char="•"/>
              <a:tabLst/>
              <a:defRPr/>
            </a:pPr>
            <a:endParaRPr kumimoji="0" lang="en-US" sz="1800" b="0" i="0" u="none" strike="noStrike" kern="0" cap="none" spc="0" normalizeH="0" baseline="0" noProof="0" dirty="0">
              <a:ln>
                <a:noFill/>
              </a:ln>
              <a:solidFill>
                <a:srgbClr val="2B2E35"/>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endPar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rPr>
              <a:t>Model Training, Validation, Maintenance</a:t>
            </a: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rPr>
              <a:t>IP Ownership</a:t>
            </a: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rPr>
              <a:t>Data Privacy, Retention, Detention</a:t>
            </a: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rPr>
              <a:t>Information Security</a:t>
            </a: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r>
              <a:rPr kumimoji="0" lang="en-US" sz="1800" b="0" i="0" u="none" strike="noStrike" kern="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rPr>
              <a:t>Bias, Discrimination, Hallucinations</a:t>
            </a:r>
          </a:p>
          <a:p>
            <a:pPr marL="801688" marR="0" lvl="1"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endParaRPr kumimoji="0" lang="en-US" sz="1800" b="0" i="0" u="none" strike="noStrike" kern="0" cap="none" spc="0"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344488" marR="0" lvl="0" indent="-344488" algn="l" defTabSz="914400" rtl="0" eaLnBrk="1" fontAlgn="auto" latinLnBrk="0" hangingPunct="1">
              <a:lnSpc>
                <a:spcPct val="100000"/>
              </a:lnSpc>
              <a:spcBef>
                <a:spcPts val="0"/>
              </a:spcBef>
              <a:spcAft>
                <a:spcPts val="0"/>
              </a:spcAft>
              <a:buClr>
                <a:srgbClr val="006983"/>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666666"/>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268249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FDB13E-8068-42B8-A9A1-26CE312B194D}"/>
              </a:ext>
            </a:extLst>
          </p:cNvPr>
          <p:cNvSpPr>
            <a:spLocks noGrp="1"/>
          </p:cNvSpPr>
          <p:nvPr>
            <p:ph type="body" sz="quarter" idx="15"/>
          </p:nvPr>
        </p:nvSpPr>
        <p:spPr/>
        <p:txBody>
          <a:bodyPr/>
          <a:lstStyle/>
          <a:p>
            <a:r>
              <a:rPr lang="en-US" dirty="0">
                <a:solidFill>
                  <a:schemeClr val="accent2"/>
                </a:solidFill>
                <a:latin typeface="Open Sans (Body)"/>
              </a:rPr>
              <a:t>MODEL TRAINING, VALIDATION, AND MAINTENANCE</a:t>
            </a:r>
          </a:p>
        </p:txBody>
      </p:sp>
      <p:sp>
        <p:nvSpPr>
          <p:cNvPr id="4" name="TextBox 3">
            <a:extLst>
              <a:ext uri="{FF2B5EF4-FFF2-40B4-BE49-F238E27FC236}">
                <a16:creationId xmlns:a16="http://schemas.microsoft.com/office/drawing/2014/main" id="{50FA7076-AE29-423E-9D33-A0E49D8091CB}"/>
              </a:ext>
            </a:extLst>
          </p:cNvPr>
          <p:cNvSpPr txBox="1"/>
          <p:nvPr/>
        </p:nvSpPr>
        <p:spPr>
          <a:xfrm>
            <a:off x="6593304" y="4752694"/>
            <a:ext cx="5438275" cy="6001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6E6F73"/>
                </a:solidFill>
                <a:effectLst/>
                <a:uLnTx/>
                <a:uFillTx/>
                <a:latin typeface="Open Sans" panose="020B0606030504020204" pitchFamily="34" charset="0"/>
                <a:ea typeface="Open Sans" panose="020B0606030504020204" pitchFamily="34" charset="0"/>
                <a:cs typeface="Open Sans" panose="020B0606030504020204" pitchFamily="34" charset="0"/>
              </a:rPr>
              <a:t>Hallucination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rPr>
              <a:t>How often does the algorithm produce hallucinations?</a:t>
            </a:r>
          </a:p>
        </p:txBody>
      </p:sp>
      <p:sp>
        <p:nvSpPr>
          <p:cNvPr id="8" name="TextBox 7">
            <a:extLst>
              <a:ext uri="{FF2B5EF4-FFF2-40B4-BE49-F238E27FC236}">
                <a16:creationId xmlns:a16="http://schemas.microsoft.com/office/drawing/2014/main" id="{5537AD02-DCFA-4EB0-BDE9-48670FFA234D}"/>
              </a:ext>
            </a:extLst>
          </p:cNvPr>
          <p:cNvSpPr txBox="1"/>
          <p:nvPr/>
        </p:nvSpPr>
        <p:spPr>
          <a:xfrm>
            <a:off x="6593303" y="3792088"/>
            <a:ext cx="5438275" cy="8463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1E4A66"/>
                </a:solidFill>
                <a:effectLst/>
                <a:uLnTx/>
                <a:uFillTx/>
                <a:latin typeface="Open Sans" panose="020B0606030504020204" pitchFamily="34" charset="0"/>
                <a:ea typeface="Open Sans" panose="020B0606030504020204" pitchFamily="34" charset="0"/>
                <a:cs typeface="Open Sans" panose="020B0606030504020204" pitchFamily="34" charset="0"/>
              </a:rPr>
              <a:t>Does the model fit your use cas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rPr>
              <a:t>Has the application been vetted for how you want to use it?</a:t>
            </a:r>
            <a:endParaRPr kumimoji="0" lang="en-US" sz="1800" b="1"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BE32D860-4F1F-43AD-8884-46AC1D170D3E}"/>
              </a:ext>
            </a:extLst>
          </p:cNvPr>
          <p:cNvSpPr txBox="1"/>
          <p:nvPr/>
        </p:nvSpPr>
        <p:spPr>
          <a:xfrm>
            <a:off x="6593304" y="5528845"/>
            <a:ext cx="5438275"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5657"/>
                </a:solidFill>
                <a:effectLst/>
                <a:uLnTx/>
                <a:uFillTx/>
                <a:latin typeface="Open Sans" panose="020B0606030504020204" pitchFamily="34" charset="0"/>
                <a:ea typeface="Open Sans" panose="020B0606030504020204" pitchFamily="34" charset="0"/>
                <a:cs typeface="Open Sans" panose="020B0606030504020204" pitchFamily="34" charset="0"/>
              </a:rPr>
              <a:t>Oversight Process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rPr>
              <a:t>What processes are in place to safeguard against inaccurate outputs / validation of outputs?</a:t>
            </a:r>
          </a:p>
        </p:txBody>
      </p:sp>
      <p:grpSp>
        <p:nvGrpSpPr>
          <p:cNvPr id="11" name="Group 10">
            <a:extLst>
              <a:ext uri="{FF2B5EF4-FFF2-40B4-BE49-F238E27FC236}">
                <a16:creationId xmlns:a16="http://schemas.microsoft.com/office/drawing/2014/main" id="{45A59193-D587-4F0A-AFB7-907B9E43A640}"/>
              </a:ext>
            </a:extLst>
          </p:cNvPr>
          <p:cNvGrpSpPr/>
          <p:nvPr/>
        </p:nvGrpSpPr>
        <p:grpSpPr>
          <a:xfrm>
            <a:off x="276087" y="1962014"/>
            <a:ext cx="5563071" cy="3728923"/>
            <a:chOff x="757351" y="2467339"/>
            <a:chExt cx="4307940" cy="2887610"/>
          </a:xfrm>
        </p:grpSpPr>
        <p:sp>
          <p:nvSpPr>
            <p:cNvPr id="24" name="Google Shape;22;p3">
              <a:extLst>
                <a:ext uri="{FF2B5EF4-FFF2-40B4-BE49-F238E27FC236}">
                  <a16:creationId xmlns:a16="http://schemas.microsoft.com/office/drawing/2014/main" id="{CF5372F4-B590-498A-9537-9CA8C5BED28C}"/>
                </a:ext>
              </a:extLst>
            </p:cNvPr>
            <p:cNvSpPr/>
            <p:nvPr/>
          </p:nvSpPr>
          <p:spPr>
            <a:xfrm>
              <a:off x="757351" y="3905576"/>
              <a:ext cx="1452729" cy="1449372"/>
            </a:xfrm>
            <a:custGeom>
              <a:avLst/>
              <a:gdLst/>
              <a:ahLst/>
              <a:cxnLst/>
              <a:rect l="l" t="t" r="r" b="b"/>
              <a:pathLst>
                <a:path w="3814" h="3805" extrusionOk="0">
                  <a:moveTo>
                    <a:pt x="3813" y="3804"/>
                  </a:moveTo>
                  <a:lnTo>
                    <a:pt x="3813" y="3804"/>
                  </a:lnTo>
                  <a:cubicBezTo>
                    <a:pt x="298" y="3804"/>
                    <a:pt x="298" y="3804"/>
                    <a:pt x="298" y="3804"/>
                  </a:cubicBezTo>
                  <a:cubicBezTo>
                    <a:pt x="135" y="3804"/>
                    <a:pt x="0" y="3668"/>
                    <a:pt x="0" y="3505"/>
                  </a:cubicBezTo>
                  <a:cubicBezTo>
                    <a:pt x="0" y="0"/>
                    <a:pt x="0" y="0"/>
                    <a:pt x="0" y="0"/>
                  </a:cubicBezTo>
                  <a:cubicBezTo>
                    <a:pt x="3813" y="0"/>
                    <a:pt x="3813" y="0"/>
                    <a:pt x="3813" y="0"/>
                  </a:cubicBezTo>
                  <a:lnTo>
                    <a:pt x="3813" y="3804"/>
                  </a:lnTo>
                </a:path>
              </a:pathLst>
            </a:custGeom>
            <a:solidFill>
              <a:schemeClr val="accent4"/>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5" name="Google Shape;23;p3">
              <a:extLst>
                <a:ext uri="{FF2B5EF4-FFF2-40B4-BE49-F238E27FC236}">
                  <a16:creationId xmlns:a16="http://schemas.microsoft.com/office/drawing/2014/main" id="{71C474C7-E4B8-437C-A237-8B94D98BAFE9}"/>
                </a:ext>
              </a:extLst>
            </p:cNvPr>
            <p:cNvSpPr/>
            <p:nvPr/>
          </p:nvSpPr>
          <p:spPr>
            <a:xfrm>
              <a:off x="757351" y="2467339"/>
              <a:ext cx="1620675" cy="1624040"/>
            </a:xfrm>
            <a:custGeom>
              <a:avLst/>
              <a:gdLst/>
              <a:ahLst/>
              <a:cxnLst/>
              <a:rect l="l" t="t" r="r" b="b"/>
              <a:pathLst>
                <a:path w="4257" h="4264" extrusionOk="0">
                  <a:moveTo>
                    <a:pt x="4066" y="1472"/>
                  </a:moveTo>
                  <a:lnTo>
                    <a:pt x="4066" y="1472"/>
                  </a:lnTo>
                  <a:cubicBezTo>
                    <a:pt x="4012" y="1472"/>
                    <a:pt x="3957" y="1518"/>
                    <a:pt x="3921" y="1590"/>
                  </a:cubicBezTo>
                  <a:cubicBezTo>
                    <a:pt x="3912" y="1599"/>
                    <a:pt x="3894" y="1599"/>
                    <a:pt x="3876" y="1599"/>
                  </a:cubicBezTo>
                  <a:cubicBezTo>
                    <a:pt x="3849" y="1599"/>
                    <a:pt x="3822" y="1590"/>
                    <a:pt x="3813" y="1581"/>
                  </a:cubicBezTo>
                  <a:cubicBezTo>
                    <a:pt x="3813" y="0"/>
                    <a:pt x="3813" y="0"/>
                    <a:pt x="3813" y="0"/>
                  </a:cubicBezTo>
                  <a:cubicBezTo>
                    <a:pt x="325" y="0"/>
                    <a:pt x="325" y="0"/>
                    <a:pt x="325" y="0"/>
                  </a:cubicBezTo>
                  <a:cubicBezTo>
                    <a:pt x="144" y="0"/>
                    <a:pt x="0" y="144"/>
                    <a:pt x="0" y="325"/>
                  </a:cubicBezTo>
                  <a:cubicBezTo>
                    <a:pt x="0" y="3812"/>
                    <a:pt x="0" y="3812"/>
                    <a:pt x="0" y="3812"/>
                  </a:cubicBezTo>
                  <a:cubicBezTo>
                    <a:pt x="1671" y="3812"/>
                    <a:pt x="1671" y="3812"/>
                    <a:pt x="1671" y="3812"/>
                  </a:cubicBezTo>
                  <a:cubicBezTo>
                    <a:pt x="1680" y="3821"/>
                    <a:pt x="1689" y="3848"/>
                    <a:pt x="1689" y="3884"/>
                  </a:cubicBezTo>
                  <a:cubicBezTo>
                    <a:pt x="1689" y="3902"/>
                    <a:pt x="1689" y="3911"/>
                    <a:pt x="1680" y="3929"/>
                  </a:cubicBezTo>
                  <a:cubicBezTo>
                    <a:pt x="1608" y="3965"/>
                    <a:pt x="1563" y="4010"/>
                    <a:pt x="1563" y="4074"/>
                  </a:cubicBezTo>
                  <a:cubicBezTo>
                    <a:pt x="1563" y="4182"/>
                    <a:pt x="1716" y="4263"/>
                    <a:pt x="1906" y="4263"/>
                  </a:cubicBezTo>
                  <a:cubicBezTo>
                    <a:pt x="2096" y="4263"/>
                    <a:pt x="2249" y="4182"/>
                    <a:pt x="2249" y="4074"/>
                  </a:cubicBezTo>
                  <a:cubicBezTo>
                    <a:pt x="2249" y="4010"/>
                    <a:pt x="2195" y="3965"/>
                    <a:pt x="2132" y="3929"/>
                  </a:cubicBezTo>
                  <a:cubicBezTo>
                    <a:pt x="2123" y="3911"/>
                    <a:pt x="2123" y="3902"/>
                    <a:pt x="2123" y="3884"/>
                  </a:cubicBezTo>
                  <a:cubicBezTo>
                    <a:pt x="2123" y="3848"/>
                    <a:pt x="2132" y="3821"/>
                    <a:pt x="2141" y="3812"/>
                  </a:cubicBezTo>
                  <a:cubicBezTo>
                    <a:pt x="3813" y="3812"/>
                    <a:pt x="3813" y="3812"/>
                    <a:pt x="3813" y="3812"/>
                  </a:cubicBezTo>
                  <a:cubicBezTo>
                    <a:pt x="3813" y="2042"/>
                    <a:pt x="3813" y="2042"/>
                    <a:pt x="3813" y="2042"/>
                  </a:cubicBezTo>
                  <a:cubicBezTo>
                    <a:pt x="3822" y="2042"/>
                    <a:pt x="3849" y="2033"/>
                    <a:pt x="3876" y="2033"/>
                  </a:cubicBezTo>
                  <a:cubicBezTo>
                    <a:pt x="3894" y="2033"/>
                    <a:pt x="3912" y="2033"/>
                    <a:pt x="3921" y="2033"/>
                  </a:cubicBezTo>
                  <a:cubicBezTo>
                    <a:pt x="3957" y="2105"/>
                    <a:pt x="4012" y="2150"/>
                    <a:pt x="4066" y="2150"/>
                  </a:cubicBezTo>
                  <a:cubicBezTo>
                    <a:pt x="4174" y="2150"/>
                    <a:pt x="4256" y="2005"/>
                    <a:pt x="4256" y="1816"/>
                  </a:cubicBezTo>
                  <a:cubicBezTo>
                    <a:pt x="4256" y="1626"/>
                    <a:pt x="4174" y="1472"/>
                    <a:pt x="4066" y="1472"/>
                  </a:cubicBezTo>
                </a:path>
              </a:pathLst>
            </a:custGeom>
            <a:solidFill>
              <a:schemeClr val="accent1"/>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grpSp>
          <p:nvGrpSpPr>
            <p:cNvPr id="26" name="Group 25">
              <a:extLst>
                <a:ext uri="{FF2B5EF4-FFF2-40B4-BE49-F238E27FC236}">
                  <a16:creationId xmlns:a16="http://schemas.microsoft.com/office/drawing/2014/main" id="{1A4FEDE9-2475-42AD-B4C6-CDE936A92465}"/>
                </a:ext>
              </a:extLst>
            </p:cNvPr>
            <p:cNvGrpSpPr/>
            <p:nvPr/>
          </p:nvGrpSpPr>
          <p:grpSpPr>
            <a:xfrm>
              <a:off x="2024251" y="2467339"/>
              <a:ext cx="1624039" cy="1627396"/>
              <a:chOff x="11665736" y="4410614"/>
              <a:chExt cx="4577614" cy="4587076"/>
            </a:xfrm>
          </p:grpSpPr>
          <p:sp>
            <p:nvSpPr>
              <p:cNvPr id="30" name="Google Shape;24;p3">
                <a:extLst>
                  <a:ext uri="{FF2B5EF4-FFF2-40B4-BE49-F238E27FC236}">
                    <a16:creationId xmlns:a16="http://schemas.microsoft.com/office/drawing/2014/main" id="{4D44F513-AB5B-4BBB-B3FB-0426CCCEE2FB}"/>
                  </a:ext>
                </a:extLst>
              </p:cNvPr>
              <p:cNvSpPr/>
              <p:nvPr/>
            </p:nvSpPr>
            <p:spPr>
              <a:xfrm>
                <a:off x="11665736" y="4410614"/>
                <a:ext cx="4577614" cy="4577617"/>
              </a:xfrm>
              <a:custGeom>
                <a:avLst/>
                <a:gdLst/>
                <a:ahLst/>
                <a:cxnLst/>
                <a:rect l="l" t="t" r="r" b="b"/>
                <a:pathLst>
                  <a:path w="4265" h="4264" extrusionOk="0">
                    <a:moveTo>
                      <a:pt x="2601" y="3812"/>
                    </a:moveTo>
                    <a:lnTo>
                      <a:pt x="2601" y="3812"/>
                    </a:lnTo>
                    <a:cubicBezTo>
                      <a:pt x="4264" y="3812"/>
                      <a:pt x="4264" y="3812"/>
                      <a:pt x="4264" y="3812"/>
                    </a:cubicBezTo>
                    <a:cubicBezTo>
                      <a:pt x="4264" y="0"/>
                      <a:pt x="4264" y="0"/>
                      <a:pt x="4264" y="0"/>
                    </a:cubicBezTo>
                    <a:cubicBezTo>
                      <a:pt x="461" y="0"/>
                      <a:pt x="461" y="0"/>
                      <a:pt x="461" y="0"/>
                    </a:cubicBezTo>
                    <a:cubicBezTo>
                      <a:pt x="461" y="1581"/>
                      <a:pt x="461" y="1581"/>
                      <a:pt x="461" y="1581"/>
                    </a:cubicBezTo>
                    <a:cubicBezTo>
                      <a:pt x="443" y="1581"/>
                      <a:pt x="416" y="1599"/>
                      <a:pt x="379" y="1599"/>
                    </a:cubicBezTo>
                    <a:cubicBezTo>
                      <a:pt x="361" y="1599"/>
                      <a:pt x="352" y="1599"/>
                      <a:pt x="334" y="1590"/>
                    </a:cubicBezTo>
                    <a:cubicBezTo>
                      <a:pt x="298" y="1518"/>
                      <a:pt x="244" y="1472"/>
                      <a:pt x="190" y="1472"/>
                    </a:cubicBezTo>
                    <a:cubicBezTo>
                      <a:pt x="81" y="1472"/>
                      <a:pt x="0" y="1626"/>
                      <a:pt x="0" y="1816"/>
                    </a:cubicBezTo>
                    <a:cubicBezTo>
                      <a:pt x="0" y="2005"/>
                      <a:pt x="81" y="2150"/>
                      <a:pt x="190" y="2150"/>
                    </a:cubicBezTo>
                    <a:cubicBezTo>
                      <a:pt x="244" y="2150"/>
                      <a:pt x="298" y="2105"/>
                      <a:pt x="334" y="2033"/>
                    </a:cubicBezTo>
                    <a:cubicBezTo>
                      <a:pt x="352" y="2033"/>
                      <a:pt x="361" y="2033"/>
                      <a:pt x="379" y="2033"/>
                    </a:cubicBezTo>
                    <a:cubicBezTo>
                      <a:pt x="416" y="2033"/>
                      <a:pt x="443" y="2042"/>
                      <a:pt x="461" y="2051"/>
                    </a:cubicBezTo>
                    <a:cubicBezTo>
                      <a:pt x="461" y="3812"/>
                      <a:pt x="461" y="3812"/>
                      <a:pt x="461" y="3812"/>
                    </a:cubicBezTo>
                    <a:cubicBezTo>
                      <a:pt x="2131" y="3812"/>
                      <a:pt x="2131" y="3812"/>
                      <a:pt x="2131" y="3812"/>
                    </a:cubicBezTo>
                    <a:cubicBezTo>
                      <a:pt x="2131" y="3821"/>
                      <a:pt x="2140" y="3848"/>
                      <a:pt x="2149" y="3884"/>
                    </a:cubicBezTo>
                    <a:cubicBezTo>
                      <a:pt x="2149" y="3902"/>
                      <a:pt x="2140" y="3911"/>
                      <a:pt x="2140" y="3929"/>
                    </a:cubicBezTo>
                    <a:cubicBezTo>
                      <a:pt x="2068" y="3965"/>
                      <a:pt x="2023" y="4010"/>
                      <a:pt x="2023" y="4074"/>
                    </a:cubicBezTo>
                    <a:cubicBezTo>
                      <a:pt x="2023" y="4182"/>
                      <a:pt x="2177" y="4263"/>
                      <a:pt x="2366" y="4263"/>
                    </a:cubicBezTo>
                    <a:cubicBezTo>
                      <a:pt x="2547" y="4263"/>
                      <a:pt x="2701" y="4182"/>
                      <a:pt x="2701" y="4074"/>
                    </a:cubicBezTo>
                    <a:cubicBezTo>
                      <a:pt x="2701" y="4010"/>
                      <a:pt x="2655" y="3965"/>
                      <a:pt x="2583" y="3929"/>
                    </a:cubicBezTo>
                    <a:cubicBezTo>
                      <a:pt x="2583" y="3911"/>
                      <a:pt x="2583" y="3902"/>
                      <a:pt x="2583" y="3884"/>
                    </a:cubicBezTo>
                    <a:cubicBezTo>
                      <a:pt x="2583" y="3848"/>
                      <a:pt x="2592" y="3821"/>
                      <a:pt x="2601" y="3812"/>
                    </a:cubicBezTo>
                  </a:path>
                </a:pathLst>
              </a:custGeom>
              <a:solidFill>
                <a:schemeClr val="accent2"/>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31" name="Google Shape;29;p3">
                <a:extLst>
                  <a:ext uri="{FF2B5EF4-FFF2-40B4-BE49-F238E27FC236}">
                    <a16:creationId xmlns:a16="http://schemas.microsoft.com/office/drawing/2014/main" id="{C1B94869-A896-4ADE-A3C0-32FF091EF65D}"/>
                  </a:ext>
                </a:extLst>
              </p:cNvPr>
              <p:cNvSpPr/>
              <p:nvPr/>
            </p:nvSpPr>
            <p:spPr>
              <a:xfrm>
                <a:off x="13838566" y="8491173"/>
                <a:ext cx="729012" cy="506517"/>
              </a:xfrm>
              <a:custGeom>
                <a:avLst/>
                <a:gdLst/>
                <a:ahLst/>
                <a:cxnLst/>
                <a:rect l="l" t="t" r="r" b="b"/>
                <a:pathLst>
                  <a:path w="679" h="470" extrusionOk="0">
                    <a:moveTo>
                      <a:pt x="678" y="271"/>
                    </a:moveTo>
                    <a:lnTo>
                      <a:pt x="678" y="271"/>
                    </a:lnTo>
                    <a:cubicBezTo>
                      <a:pt x="678" y="216"/>
                      <a:pt x="632" y="162"/>
                      <a:pt x="560" y="126"/>
                    </a:cubicBezTo>
                    <a:cubicBezTo>
                      <a:pt x="560" y="117"/>
                      <a:pt x="560" y="99"/>
                      <a:pt x="560" y="81"/>
                    </a:cubicBezTo>
                    <a:cubicBezTo>
                      <a:pt x="560" y="45"/>
                      <a:pt x="569" y="18"/>
                      <a:pt x="578" y="0"/>
                    </a:cubicBezTo>
                    <a:cubicBezTo>
                      <a:pt x="416" y="0"/>
                      <a:pt x="262" y="0"/>
                      <a:pt x="100" y="0"/>
                    </a:cubicBezTo>
                    <a:cubicBezTo>
                      <a:pt x="108" y="18"/>
                      <a:pt x="126" y="45"/>
                      <a:pt x="126" y="81"/>
                    </a:cubicBezTo>
                    <a:cubicBezTo>
                      <a:pt x="126" y="99"/>
                      <a:pt x="117" y="117"/>
                      <a:pt x="117" y="126"/>
                    </a:cubicBezTo>
                    <a:cubicBezTo>
                      <a:pt x="45" y="162"/>
                      <a:pt x="0" y="216"/>
                      <a:pt x="0" y="271"/>
                    </a:cubicBezTo>
                    <a:cubicBezTo>
                      <a:pt x="0" y="379"/>
                      <a:pt x="154" y="469"/>
                      <a:pt x="343" y="469"/>
                    </a:cubicBezTo>
                    <a:cubicBezTo>
                      <a:pt x="524" y="469"/>
                      <a:pt x="678" y="379"/>
                      <a:pt x="678" y="271"/>
                    </a:cubicBezTo>
                  </a:path>
                </a:pathLst>
              </a:custGeom>
              <a:solidFill>
                <a:schemeClr val="accent2"/>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Tx/>
                  <a:buSzPts val="1800"/>
                  <a:buFontTx/>
                  <a:buNone/>
                  <a:tabLst/>
                  <a:defRPr/>
                </a:pPr>
                <a:endParaRPr kumimoji="0" sz="1800" b="0" i="0" u="none" strike="noStrike" kern="1200" cap="none" spc="0" normalizeH="0" baseline="0" noProof="0" dirty="0">
                  <a:ln>
                    <a:noFill/>
                  </a:ln>
                  <a:solidFill>
                    <a:srgbClr val="181818"/>
                  </a:solidFill>
                  <a:effectLst/>
                  <a:uLnTx/>
                  <a:uFillTx/>
                  <a:latin typeface="Poppins"/>
                  <a:ea typeface="+mn-ea"/>
                  <a:cs typeface="+mn-cs"/>
                </a:endParaRPr>
              </a:p>
            </p:txBody>
          </p:sp>
          <p:sp>
            <p:nvSpPr>
              <p:cNvPr id="32" name="Google Shape;30;p3">
                <a:extLst>
                  <a:ext uri="{FF2B5EF4-FFF2-40B4-BE49-F238E27FC236}">
                    <a16:creationId xmlns:a16="http://schemas.microsoft.com/office/drawing/2014/main" id="{27890276-6D81-4974-9179-8655E53D2252}"/>
                  </a:ext>
                </a:extLst>
              </p:cNvPr>
              <p:cNvSpPr/>
              <p:nvPr/>
            </p:nvSpPr>
            <p:spPr>
              <a:xfrm>
                <a:off x="13952178" y="8415432"/>
                <a:ext cx="515988" cy="156215"/>
              </a:xfrm>
              <a:custGeom>
                <a:avLst/>
                <a:gdLst/>
                <a:ahLst/>
                <a:cxnLst/>
                <a:rect l="l" t="t" r="r" b="b"/>
                <a:pathLst>
                  <a:path w="480" h="146" extrusionOk="0">
                    <a:moveTo>
                      <a:pt x="0" y="0"/>
                    </a:moveTo>
                    <a:lnTo>
                      <a:pt x="55" y="145"/>
                    </a:lnTo>
                    <a:lnTo>
                      <a:pt x="407" y="145"/>
                    </a:lnTo>
                    <a:lnTo>
                      <a:pt x="479" y="0"/>
                    </a:lnTo>
                    <a:lnTo>
                      <a:pt x="0" y="0"/>
                    </a:lnTo>
                  </a:path>
                </a:pathLst>
              </a:custGeom>
              <a:solidFill>
                <a:schemeClr val="accent2"/>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Tx/>
                  <a:buSzPts val="1800"/>
                  <a:buFontTx/>
                  <a:buNone/>
                  <a:tabLst/>
                  <a:defRPr/>
                </a:pPr>
                <a:endParaRPr kumimoji="0" sz="1800" b="0" i="0" u="none" strike="noStrike" kern="1200" cap="none" spc="0" normalizeH="0" baseline="0" noProof="0" dirty="0">
                  <a:ln>
                    <a:noFill/>
                  </a:ln>
                  <a:solidFill>
                    <a:srgbClr val="181818"/>
                  </a:solidFill>
                  <a:effectLst/>
                  <a:uLnTx/>
                  <a:uFillTx/>
                  <a:latin typeface="Poppins"/>
                  <a:ea typeface="+mn-ea"/>
                  <a:cs typeface="+mn-cs"/>
                </a:endParaRPr>
              </a:p>
            </p:txBody>
          </p:sp>
        </p:grpSp>
        <p:sp>
          <p:nvSpPr>
            <p:cNvPr id="27" name="Google Shape;25;p3">
              <a:extLst>
                <a:ext uri="{FF2B5EF4-FFF2-40B4-BE49-F238E27FC236}">
                  <a16:creationId xmlns:a16="http://schemas.microsoft.com/office/drawing/2014/main" id="{DCBFD186-11D4-4EC6-B936-339584A7805A}"/>
                </a:ext>
              </a:extLst>
            </p:cNvPr>
            <p:cNvSpPr/>
            <p:nvPr/>
          </p:nvSpPr>
          <p:spPr>
            <a:xfrm>
              <a:off x="3441258" y="2467339"/>
              <a:ext cx="1624033" cy="1452729"/>
            </a:xfrm>
            <a:custGeom>
              <a:avLst/>
              <a:gdLst/>
              <a:ahLst/>
              <a:cxnLst/>
              <a:rect l="l" t="t" r="r" b="b"/>
              <a:pathLst>
                <a:path w="4266" h="3813" extrusionOk="0">
                  <a:moveTo>
                    <a:pt x="4265" y="325"/>
                  </a:moveTo>
                  <a:lnTo>
                    <a:pt x="4265" y="325"/>
                  </a:lnTo>
                  <a:cubicBezTo>
                    <a:pt x="4265" y="3812"/>
                    <a:pt x="4265" y="3812"/>
                    <a:pt x="4265" y="3812"/>
                  </a:cubicBezTo>
                  <a:cubicBezTo>
                    <a:pt x="452" y="3812"/>
                    <a:pt x="452" y="3812"/>
                    <a:pt x="452" y="3812"/>
                  </a:cubicBezTo>
                  <a:cubicBezTo>
                    <a:pt x="452" y="2051"/>
                    <a:pt x="452" y="2051"/>
                    <a:pt x="452" y="2051"/>
                  </a:cubicBezTo>
                  <a:cubicBezTo>
                    <a:pt x="434" y="2042"/>
                    <a:pt x="416" y="2033"/>
                    <a:pt x="380" y="2033"/>
                  </a:cubicBezTo>
                  <a:cubicBezTo>
                    <a:pt x="361" y="2033"/>
                    <a:pt x="352" y="2033"/>
                    <a:pt x="335" y="2033"/>
                  </a:cubicBezTo>
                  <a:cubicBezTo>
                    <a:pt x="298" y="2105"/>
                    <a:pt x="253" y="2150"/>
                    <a:pt x="190" y="2150"/>
                  </a:cubicBezTo>
                  <a:cubicBezTo>
                    <a:pt x="91" y="2150"/>
                    <a:pt x="0" y="2005"/>
                    <a:pt x="0" y="1816"/>
                  </a:cubicBezTo>
                  <a:cubicBezTo>
                    <a:pt x="0" y="1626"/>
                    <a:pt x="91" y="1472"/>
                    <a:pt x="190" y="1472"/>
                  </a:cubicBezTo>
                  <a:cubicBezTo>
                    <a:pt x="253" y="1472"/>
                    <a:pt x="298" y="1518"/>
                    <a:pt x="335" y="1590"/>
                  </a:cubicBezTo>
                  <a:cubicBezTo>
                    <a:pt x="352" y="1599"/>
                    <a:pt x="361" y="1599"/>
                    <a:pt x="380" y="1599"/>
                  </a:cubicBezTo>
                  <a:cubicBezTo>
                    <a:pt x="416" y="1599"/>
                    <a:pt x="443" y="1590"/>
                    <a:pt x="452" y="1581"/>
                  </a:cubicBezTo>
                  <a:cubicBezTo>
                    <a:pt x="452" y="0"/>
                    <a:pt x="452" y="0"/>
                    <a:pt x="452" y="0"/>
                  </a:cubicBezTo>
                  <a:cubicBezTo>
                    <a:pt x="3931" y="0"/>
                    <a:pt x="3931" y="0"/>
                    <a:pt x="3931" y="0"/>
                  </a:cubicBezTo>
                  <a:cubicBezTo>
                    <a:pt x="4111" y="0"/>
                    <a:pt x="4265" y="144"/>
                    <a:pt x="4265" y="325"/>
                  </a:cubicBezTo>
                </a:path>
              </a:pathLst>
            </a:custGeom>
            <a:solidFill>
              <a:schemeClr val="accent3"/>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8" name="Google Shape;26;p3">
              <a:extLst>
                <a:ext uri="{FF2B5EF4-FFF2-40B4-BE49-F238E27FC236}">
                  <a16:creationId xmlns:a16="http://schemas.microsoft.com/office/drawing/2014/main" id="{F40289C2-875C-4F0A-9A01-01393C8A2A8D}"/>
                </a:ext>
              </a:extLst>
            </p:cNvPr>
            <p:cNvSpPr/>
            <p:nvPr/>
          </p:nvSpPr>
          <p:spPr>
            <a:xfrm>
              <a:off x="3607979" y="3730915"/>
              <a:ext cx="1452729" cy="1624034"/>
            </a:xfrm>
            <a:custGeom>
              <a:avLst/>
              <a:gdLst/>
              <a:ahLst/>
              <a:cxnLst/>
              <a:rect l="l" t="t" r="r" b="b"/>
              <a:pathLst>
                <a:path w="3814" h="4266" extrusionOk="0">
                  <a:moveTo>
                    <a:pt x="2141" y="461"/>
                  </a:moveTo>
                  <a:lnTo>
                    <a:pt x="2141" y="461"/>
                  </a:lnTo>
                  <a:cubicBezTo>
                    <a:pt x="2132" y="443"/>
                    <a:pt x="2123" y="415"/>
                    <a:pt x="2123" y="379"/>
                  </a:cubicBezTo>
                  <a:cubicBezTo>
                    <a:pt x="2123" y="361"/>
                    <a:pt x="2123" y="343"/>
                    <a:pt x="2132" y="334"/>
                  </a:cubicBezTo>
                  <a:cubicBezTo>
                    <a:pt x="2205" y="298"/>
                    <a:pt x="2250" y="244"/>
                    <a:pt x="2250" y="190"/>
                  </a:cubicBezTo>
                  <a:cubicBezTo>
                    <a:pt x="2250" y="81"/>
                    <a:pt x="2096" y="0"/>
                    <a:pt x="1907" y="0"/>
                  </a:cubicBezTo>
                  <a:cubicBezTo>
                    <a:pt x="1717" y="0"/>
                    <a:pt x="1563" y="81"/>
                    <a:pt x="1563" y="190"/>
                  </a:cubicBezTo>
                  <a:cubicBezTo>
                    <a:pt x="1563" y="244"/>
                    <a:pt x="1608" y="298"/>
                    <a:pt x="1680" y="334"/>
                  </a:cubicBezTo>
                  <a:cubicBezTo>
                    <a:pt x="1690" y="343"/>
                    <a:pt x="1690" y="361"/>
                    <a:pt x="1690" y="379"/>
                  </a:cubicBezTo>
                  <a:cubicBezTo>
                    <a:pt x="1690" y="415"/>
                    <a:pt x="1680" y="443"/>
                    <a:pt x="1672" y="461"/>
                  </a:cubicBezTo>
                  <a:cubicBezTo>
                    <a:pt x="0" y="461"/>
                    <a:pt x="0" y="461"/>
                    <a:pt x="0" y="461"/>
                  </a:cubicBezTo>
                  <a:cubicBezTo>
                    <a:pt x="0" y="4265"/>
                    <a:pt x="0" y="4265"/>
                    <a:pt x="0" y="4265"/>
                  </a:cubicBezTo>
                  <a:cubicBezTo>
                    <a:pt x="3479" y="4265"/>
                    <a:pt x="3479" y="4265"/>
                    <a:pt x="3479" y="4265"/>
                  </a:cubicBezTo>
                  <a:cubicBezTo>
                    <a:pt x="3659" y="4265"/>
                    <a:pt x="3813" y="4120"/>
                    <a:pt x="3813" y="3939"/>
                  </a:cubicBezTo>
                  <a:cubicBezTo>
                    <a:pt x="3813" y="461"/>
                    <a:pt x="3813" y="461"/>
                    <a:pt x="3813" y="461"/>
                  </a:cubicBezTo>
                  <a:lnTo>
                    <a:pt x="2141" y="461"/>
                  </a:lnTo>
                </a:path>
              </a:pathLst>
            </a:custGeom>
            <a:solidFill>
              <a:schemeClr val="accent6"/>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29" name="Google Shape;28;p3">
              <a:extLst>
                <a:ext uri="{FF2B5EF4-FFF2-40B4-BE49-F238E27FC236}">
                  <a16:creationId xmlns:a16="http://schemas.microsoft.com/office/drawing/2014/main" id="{82AEE9D3-4C72-46B2-95D0-916AAB5E8E31}"/>
                </a:ext>
              </a:extLst>
            </p:cNvPr>
            <p:cNvSpPr/>
            <p:nvPr/>
          </p:nvSpPr>
          <p:spPr>
            <a:xfrm>
              <a:off x="2005413" y="3730915"/>
              <a:ext cx="1797027" cy="1624033"/>
            </a:xfrm>
            <a:custGeom>
              <a:avLst/>
              <a:gdLst/>
              <a:ahLst/>
              <a:cxnLst/>
              <a:rect l="l" t="t" r="r" b="b"/>
              <a:pathLst>
                <a:path w="4717" h="4266" extrusionOk="0">
                  <a:moveTo>
                    <a:pt x="4526" y="2024"/>
                  </a:moveTo>
                  <a:lnTo>
                    <a:pt x="4526" y="2024"/>
                  </a:lnTo>
                  <a:cubicBezTo>
                    <a:pt x="4472" y="2024"/>
                    <a:pt x="4417" y="2069"/>
                    <a:pt x="4381" y="2141"/>
                  </a:cubicBezTo>
                  <a:cubicBezTo>
                    <a:pt x="4372" y="2141"/>
                    <a:pt x="4354" y="2141"/>
                    <a:pt x="4336" y="2141"/>
                  </a:cubicBezTo>
                  <a:cubicBezTo>
                    <a:pt x="4309" y="2141"/>
                    <a:pt x="4283" y="2132"/>
                    <a:pt x="4265" y="2123"/>
                  </a:cubicBezTo>
                  <a:cubicBezTo>
                    <a:pt x="4265" y="461"/>
                    <a:pt x="4265" y="461"/>
                    <a:pt x="4265" y="461"/>
                  </a:cubicBezTo>
                  <a:cubicBezTo>
                    <a:pt x="2593" y="461"/>
                    <a:pt x="2593" y="461"/>
                    <a:pt x="2593" y="461"/>
                  </a:cubicBezTo>
                  <a:cubicBezTo>
                    <a:pt x="2593" y="443"/>
                    <a:pt x="2575" y="415"/>
                    <a:pt x="2575" y="379"/>
                  </a:cubicBezTo>
                  <a:cubicBezTo>
                    <a:pt x="2575" y="361"/>
                    <a:pt x="2584" y="343"/>
                    <a:pt x="2584" y="334"/>
                  </a:cubicBezTo>
                  <a:cubicBezTo>
                    <a:pt x="2656" y="298"/>
                    <a:pt x="2702" y="244"/>
                    <a:pt x="2702" y="190"/>
                  </a:cubicBezTo>
                  <a:cubicBezTo>
                    <a:pt x="2702" y="81"/>
                    <a:pt x="2548" y="0"/>
                    <a:pt x="2358" y="0"/>
                  </a:cubicBezTo>
                  <a:cubicBezTo>
                    <a:pt x="2169" y="0"/>
                    <a:pt x="2024" y="81"/>
                    <a:pt x="2024" y="190"/>
                  </a:cubicBezTo>
                  <a:cubicBezTo>
                    <a:pt x="2024" y="244"/>
                    <a:pt x="2069" y="298"/>
                    <a:pt x="2141" y="334"/>
                  </a:cubicBezTo>
                  <a:cubicBezTo>
                    <a:pt x="2141" y="343"/>
                    <a:pt x="2141" y="361"/>
                    <a:pt x="2141" y="379"/>
                  </a:cubicBezTo>
                  <a:cubicBezTo>
                    <a:pt x="2141" y="415"/>
                    <a:pt x="2132" y="443"/>
                    <a:pt x="2123" y="461"/>
                  </a:cubicBezTo>
                  <a:cubicBezTo>
                    <a:pt x="461" y="461"/>
                    <a:pt x="461" y="461"/>
                    <a:pt x="461" y="461"/>
                  </a:cubicBezTo>
                  <a:cubicBezTo>
                    <a:pt x="461" y="2123"/>
                    <a:pt x="461" y="2123"/>
                    <a:pt x="461" y="2123"/>
                  </a:cubicBezTo>
                  <a:cubicBezTo>
                    <a:pt x="443" y="2132"/>
                    <a:pt x="416" y="2141"/>
                    <a:pt x="379" y="2141"/>
                  </a:cubicBezTo>
                  <a:cubicBezTo>
                    <a:pt x="370" y="2141"/>
                    <a:pt x="352" y="2141"/>
                    <a:pt x="334" y="2141"/>
                  </a:cubicBezTo>
                  <a:cubicBezTo>
                    <a:pt x="307" y="2069"/>
                    <a:pt x="253" y="2024"/>
                    <a:pt x="190" y="2024"/>
                  </a:cubicBezTo>
                  <a:cubicBezTo>
                    <a:pt x="90" y="2024"/>
                    <a:pt x="0" y="2168"/>
                    <a:pt x="0" y="2358"/>
                  </a:cubicBezTo>
                  <a:cubicBezTo>
                    <a:pt x="0" y="2548"/>
                    <a:pt x="90" y="2701"/>
                    <a:pt x="190" y="2701"/>
                  </a:cubicBezTo>
                  <a:cubicBezTo>
                    <a:pt x="253" y="2701"/>
                    <a:pt x="307" y="2656"/>
                    <a:pt x="334" y="2584"/>
                  </a:cubicBezTo>
                  <a:cubicBezTo>
                    <a:pt x="352" y="2575"/>
                    <a:pt x="370" y="2575"/>
                    <a:pt x="388" y="2575"/>
                  </a:cubicBezTo>
                  <a:cubicBezTo>
                    <a:pt x="416" y="2575"/>
                    <a:pt x="443" y="2584"/>
                    <a:pt x="461" y="2593"/>
                  </a:cubicBezTo>
                  <a:cubicBezTo>
                    <a:pt x="461" y="4265"/>
                    <a:pt x="461" y="4265"/>
                    <a:pt x="461" y="4265"/>
                  </a:cubicBezTo>
                  <a:cubicBezTo>
                    <a:pt x="4265" y="4265"/>
                    <a:pt x="4265" y="4265"/>
                    <a:pt x="4265" y="4265"/>
                  </a:cubicBezTo>
                  <a:cubicBezTo>
                    <a:pt x="4265" y="2593"/>
                    <a:pt x="4265" y="2593"/>
                    <a:pt x="4265" y="2593"/>
                  </a:cubicBezTo>
                  <a:cubicBezTo>
                    <a:pt x="4283" y="2584"/>
                    <a:pt x="4300" y="2575"/>
                    <a:pt x="4336" y="2575"/>
                  </a:cubicBezTo>
                  <a:cubicBezTo>
                    <a:pt x="4354" y="2575"/>
                    <a:pt x="4372" y="2575"/>
                    <a:pt x="4381" y="2584"/>
                  </a:cubicBezTo>
                  <a:cubicBezTo>
                    <a:pt x="4417" y="2656"/>
                    <a:pt x="4472" y="2701"/>
                    <a:pt x="4526" y="2701"/>
                  </a:cubicBezTo>
                  <a:cubicBezTo>
                    <a:pt x="4634" y="2701"/>
                    <a:pt x="4716" y="2548"/>
                    <a:pt x="4716" y="2358"/>
                  </a:cubicBezTo>
                  <a:cubicBezTo>
                    <a:pt x="4716" y="2168"/>
                    <a:pt x="4634" y="2024"/>
                    <a:pt x="4526" y="2024"/>
                  </a:cubicBezTo>
                </a:path>
              </a:pathLst>
            </a:custGeom>
            <a:solidFill>
              <a:schemeClr val="accent5"/>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grpSp>
      <p:sp>
        <p:nvSpPr>
          <p:cNvPr id="12" name="TextBox 11">
            <a:extLst>
              <a:ext uri="{FF2B5EF4-FFF2-40B4-BE49-F238E27FC236}">
                <a16:creationId xmlns:a16="http://schemas.microsoft.com/office/drawing/2014/main" id="{BC5A5C81-A176-4702-8A0F-7E8ECA256122}"/>
              </a:ext>
            </a:extLst>
          </p:cNvPr>
          <p:cNvSpPr txBox="1"/>
          <p:nvPr/>
        </p:nvSpPr>
        <p:spPr>
          <a:xfrm>
            <a:off x="4081928" y="2896285"/>
            <a:ext cx="167025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Model Controls</a:t>
            </a:r>
          </a:p>
        </p:txBody>
      </p:sp>
      <p:sp>
        <p:nvSpPr>
          <p:cNvPr id="13" name="TextBox 12">
            <a:extLst>
              <a:ext uri="{FF2B5EF4-FFF2-40B4-BE49-F238E27FC236}">
                <a16:creationId xmlns:a16="http://schemas.microsoft.com/office/drawing/2014/main" id="{3C93CF1A-9F92-4992-893D-C6C6A8BC336B}"/>
              </a:ext>
            </a:extLst>
          </p:cNvPr>
          <p:cNvSpPr txBox="1"/>
          <p:nvPr/>
        </p:nvSpPr>
        <p:spPr>
          <a:xfrm>
            <a:off x="4088932" y="5005625"/>
            <a:ext cx="1670258"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Oversight Processes</a:t>
            </a:r>
          </a:p>
        </p:txBody>
      </p:sp>
      <p:sp>
        <p:nvSpPr>
          <p:cNvPr id="14" name="TextBox 13">
            <a:extLst>
              <a:ext uri="{FF2B5EF4-FFF2-40B4-BE49-F238E27FC236}">
                <a16:creationId xmlns:a16="http://schemas.microsoft.com/office/drawing/2014/main" id="{1C1129F3-45B6-4842-92B6-3B9D594D7365}"/>
              </a:ext>
            </a:extLst>
          </p:cNvPr>
          <p:cNvSpPr txBox="1"/>
          <p:nvPr/>
        </p:nvSpPr>
        <p:spPr>
          <a:xfrm>
            <a:off x="2177715" y="2885095"/>
            <a:ext cx="167025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Model Type</a:t>
            </a:r>
          </a:p>
        </p:txBody>
      </p:sp>
      <p:sp>
        <p:nvSpPr>
          <p:cNvPr id="15" name="TextBox 14">
            <a:extLst>
              <a:ext uri="{FF2B5EF4-FFF2-40B4-BE49-F238E27FC236}">
                <a16:creationId xmlns:a16="http://schemas.microsoft.com/office/drawing/2014/main" id="{9AAAB356-3F13-4BF0-B3DD-4480924AB9A4}"/>
              </a:ext>
            </a:extLst>
          </p:cNvPr>
          <p:cNvSpPr txBox="1"/>
          <p:nvPr/>
        </p:nvSpPr>
        <p:spPr>
          <a:xfrm>
            <a:off x="326985" y="2914957"/>
            <a:ext cx="167025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Training Data</a:t>
            </a:r>
          </a:p>
        </p:txBody>
      </p:sp>
      <p:sp>
        <p:nvSpPr>
          <p:cNvPr id="16" name="TextBox 15">
            <a:extLst>
              <a:ext uri="{FF2B5EF4-FFF2-40B4-BE49-F238E27FC236}">
                <a16:creationId xmlns:a16="http://schemas.microsoft.com/office/drawing/2014/main" id="{C27EEBEE-DD3A-4BE6-AB4F-FD27B6C7390F}"/>
              </a:ext>
            </a:extLst>
          </p:cNvPr>
          <p:cNvSpPr txBox="1"/>
          <p:nvPr/>
        </p:nvSpPr>
        <p:spPr>
          <a:xfrm>
            <a:off x="326985" y="5005625"/>
            <a:ext cx="167025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Vetting Use Case</a:t>
            </a:r>
          </a:p>
        </p:txBody>
      </p:sp>
      <p:sp>
        <p:nvSpPr>
          <p:cNvPr id="17" name="TextBox 16">
            <a:extLst>
              <a:ext uri="{FF2B5EF4-FFF2-40B4-BE49-F238E27FC236}">
                <a16:creationId xmlns:a16="http://schemas.microsoft.com/office/drawing/2014/main" id="{5F0A04B8-2B25-4528-9F4D-7878734BE338}"/>
              </a:ext>
            </a:extLst>
          </p:cNvPr>
          <p:cNvSpPr txBox="1"/>
          <p:nvPr/>
        </p:nvSpPr>
        <p:spPr>
          <a:xfrm>
            <a:off x="2202971" y="5005625"/>
            <a:ext cx="167025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Hallucinations</a:t>
            </a:r>
          </a:p>
        </p:txBody>
      </p:sp>
      <p:pic>
        <p:nvPicPr>
          <p:cNvPr id="18" name="Graphic 17" descr="Search Inventory with solid fill">
            <a:extLst>
              <a:ext uri="{FF2B5EF4-FFF2-40B4-BE49-F238E27FC236}">
                <a16:creationId xmlns:a16="http://schemas.microsoft.com/office/drawing/2014/main" id="{7ABF1BE2-C339-4A66-9C9C-8F6FB8A68B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35283" y="2017621"/>
            <a:ext cx="763547" cy="763547"/>
          </a:xfrm>
          <a:prstGeom prst="rect">
            <a:avLst/>
          </a:prstGeom>
        </p:spPr>
      </p:pic>
      <p:pic>
        <p:nvPicPr>
          <p:cNvPr id="19" name="Graphic 18" descr="Shield Tick with solid fill">
            <a:extLst>
              <a:ext uri="{FF2B5EF4-FFF2-40B4-BE49-F238E27FC236}">
                <a16:creationId xmlns:a16="http://schemas.microsoft.com/office/drawing/2014/main" id="{838D4EE4-ED68-4B6E-87F6-DBCCF73A4B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64091" y="2017621"/>
            <a:ext cx="763547" cy="763547"/>
          </a:xfrm>
          <a:prstGeom prst="rect">
            <a:avLst/>
          </a:prstGeom>
        </p:spPr>
      </p:pic>
      <p:pic>
        <p:nvPicPr>
          <p:cNvPr id="20" name="Graphic 19" descr="Scientific Thought with solid fill">
            <a:extLst>
              <a:ext uri="{FF2B5EF4-FFF2-40B4-BE49-F238E27FC236}">
                <a16:creationId xmlns:a16="http://schemas.microsoft.com/office/drawing/2014/main" id="{8B6BA565-F97F-4663-A4A8-399C795FFFA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0341" y="2017621"/>
            <a:ext cx="763547" cy="763547"/>
          </a:xfrm>
          <a:prstGeom prst="rect">
            <a:avLst/>
          </a:prstGeom>
        </p:spPr>
      </p:pic>
      <p:pic>
        <p:nvPicPr>
          <p:cNvPr id="21" name="Graphic 20" descr="Exit with solid fill">
            <a:extLst>
              <a:ext uri="{FF2B5EF4-FFF2-40B4-BE49-F238E27FC236}">
                <a16:creationId xmlns:a16="http://schemas.microsoft.com/office/drawing/2014/main" id="{468A1753-A107-42AB-B540-D83EF265F6A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0341" y="4089746"/>
            <a:ext cx="763547" cy="763547"/>
          </a:xfrm>
          <a:prstGeom prst="rect">
            <a:avLst/>
          </a:prstGeom>
        </p:spPr>
      </p:pic>
      <p:pic>
        <p:nvPicPr>
          <p:cNvPr id="22" name="Graphic 21" descr="Police male with solid fill">
            <a:extLst>
              <a:ext uri="{FF2B5EF4-FFF2-40B4-BE49-F238E27FC236}">
                <a16:creationId xmlns:a16="http://schemas.microsoft.com/office/drawing/2014/main" id="{629FB804-167B-4360-ACAC-33B9BFD070A4}"/>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4535283" y="4089746"/>
            <a:ext cx="763547" cy="763547"/>
          </a:xfrm>
          <a:prstGeom prst="rect">
            <a:avLst/>
          </a:prstGeom>
        </p:spPr>
      </p:pic>
      <p:pic>
        <p:nvPicPr>
          <p:cNvPr id="23" name="Graphic 22" descr="Cell Tower with solid fill">
            <a:extLst>
              <a:ext uri="{FF2B5EF4-FFF2-40B4-BE49-F238E27FC236}">
                <a16:creationId xmlns:a16="http://schemas.microsoft.com/office/drawing/2014/main" id="{14A2D2D4-0A57-489C-A4B6-9BDB2CC6703E}"/>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2664091" y="4089746"/>
            <a:ext cx="763547" cy="763547"/>
          </a:xfrm>
          <a:prstGeom prst="rect">
            <a:avLst/>
          </a:prstGeom>
        </p:spPr>
      </p:pic>
      <p:sp>
        <p:nvSpPr>
          <p:cNvPr id="7" name="TextBox 6">
            <a:extLst>
              <a:ext uri="{FF2B5EF4-FFF2-40B4-BE49-F238E27FC236}">
                <a16:creationId xmlns:a16="http://schemas.microsoft.com/office/drawing/2014/main" id="{1CABB7F4-24D4-4395-9157-6B1AF56333BD}"/>
              </a:ext>
            </a:extLst>
          </p:cNvPr>
          <p:cNvSpPr txBox="1"/>
          <p:nvPr/>
        </p:nvSpPr>
        <p:spPr>
          <a:xfrm>
            <a:off x="6593304" y="2873204"/>
            <a:ext cx="5438275"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D52B1E"/>
                </a:solidFill>
                <a:effectLst/>
                <a:uLnTx/>
                <a:uFillTx/>
                <a:latin typeface="Open Sans" panose="020B0606030504020204" pitchFamily="34" charset="0"/>
                <a:ea typeface="Open Sans" panose="020B0606030504020204" pitchFamily="34" charset="0"/>
                <a:cs typeface="Open Sans" panose="020B0606030504020204" pitchFamily="34" charset="0"/>
              </a:rPr>
              <a:t>What controls are in place?</a:t>
            </a:r>
            <a:endParaRPr kumimoji="0" lang="en-US" sz="1600" b="1" i="0" u="none" strike="noStrike" kern="1200" cap="none" spc="0" normalizeH="0" baseline="0" noProof="0" dirty="0">
              <a:ln>
                <a:noFill/>
              </a:ln>
              <a:solidFill>
                <a:srgbClr val="D52B1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rPr>
              <a:t>Assurances of no biased or prohibited content? How often is dataset updated?</a:t>
            </a:r>
            <a:endParaRPr kumimoji="0" lang="en-US" sz="1800"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5" name="TextBox 4">
            <a:extLst>
              <a:ext uri="{FF2B5EF4-FFF2-40B4-BE49-F238E27FC236}">
                <a16:creationId xmlns:a16="http://schemas.microsoft.com/office/drawing/2014/main" id="{1DF1A6AF-1C4A-4DA7-B42F-D61B8536A2B7}"/>
              </a:ext>
            </a:extLst>
          </p:cNvPr>
          <p:cNvSpPr txBox="1"/>
          <p:nvPr/>
        </p:nvSpPr>
        <p:spPr>
          <a:xfrm>
            <a:off x="6593304" y="1072678"/>
            <a:ext cx="5438275" cy="61555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33453"/>
                </a:solidFill>
                <a:effectLst/>
                <a:uLnTx/>
                <a:uFillTx/>
                <a:latin typeface="Open Sans" panose="020B0606030504020204" pitchFamily="34" charset="0"/>
                <a:ea typeface="Open Sans" panose="020B0606030504020204" pitchFamily="34" charset="0"/>
                <a:cs typeface="Open Sans" panose="020B0606030504020204" pitchFamily="34" charset="0"/>
              </a:rPr>
              <a:t>What datasets were used to train the tool?</a:t>
            </a:r>
            <a:endParaRPr kumimoji="0" lang="en-US" sz="1600" b="1" i="0" u="none" strike="noStrike" kern="1200" cap="none" spc="0" normalizeH="0" baseline="0" noProof="0" dirty="0">
              <a:ln>
                <a:noFill/>
              </a:ln>
              <a:solidFill>
                <a:srgbClr val="033453"/>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rPr>
              <a:t>Does the vendor maintain documentation?</a:t>
            </a:r>
            <a:endParaRPr kumimoji="0" lang="en-US" sz="1800" b="1"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3" name="Rectangle: Rounded Corners 32">
            <a:extLst>
              <a:ext uri="{FF2B5EF4-FFF2-40B4-BE49-F238E27FC236}">
                <a16:creationId xmlns:a16="http://schemas.microsoft.com/office/drawing/2014/main" id="{EE8B4A4B-A471-412D-835A-CF8DA5312C9A}"/>
              </a:ext>
            </a:extLst>
          </p:cNvPr>
          <p:cNvSpPr/>
          <p:nvPr/>
        </p:nvSpPr>
        <p:spPr>
          <a:xfrm>
            <a:off x="6364705" y="1085347"/>
            <a:ext cx="48127" cy="613611"/>
          </a:xfrm>
          <a:prstGeom prst="roundRect">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
        <p:nvSpPr>
          <p:cNvPr id="6" name="TextBox 5">
            <a:extLst>
              <a:ext uri="{FF2B5EF4-FFF2-40B4-BE49-F238E27FC236}">
                <a16:creationId xmlns:a16="http://schemas.microsoft.com/office/drawing/2014/main" id="{F9E3CEF4-B011-4EA2-AD98-86C986CEF6E8}"/>
              </a:ext>
            </a:extLst>
          </p:cNvPr>
          <p:cNvSpPr txBox="1"/>
          <p:nvPr/>
        </p:nvSpPr>
        <p:spPr>
          <a:xfrm>
            <a:off x="6593304" y="1965190"/>
            <a:ext cx="5438275" cy="6001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6983"/>
                </a:solidFill>
                <a:effectLst/>
                <a:uLnTx/>
                <a:uFillTx/>
                <a:latin typeface="Open Sans" panose="020B0606030504020204" pitchFamily="34" charset="0"/>
                <a:ea typeface="Open Sans" panose="020B0606030504020204" pitchFamily="34" charset="0"/>
                <a:cs typeface="Open Sans" panose="020B0606030504020204" pitchFamily="34" charset="0"/>
              </a:rPr>
              <a:t>Is the LLM trained on an open or closed model?</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rPr>
              <a:t>Is it comprehensive or are there potential gaps?</a:t>
            </a:r>
            <a:endParaRPr kumimoji="0" lang="en-US" sz="1800" b="1"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4" name="Rectangle: Rounded Corners 33">
            <a:extLst>
              <a:ext uri="{FF2B5EF4-FFF2-40B4-BE49-F238E27FC236}">
                <a16:creationId xmlns:a16="http://schemas.microsoft.com/office/drawing/2014/main" id="{8DA1B590-180B-40A4-9A7D-A3F0E9098B97}"/>
              </a:ext>
            </a:extLst>
          </p:cNvPr>
          <p:cNvSpPr/>
          <p:nvPr/>
        </p:nvSpPr>
        <p:spPr>
          <a:xfrm>
            <a:off x="6364705" y="2009932"/>
            <a:ext cx="48127" cy="613611"/>
          </a:xfrm>
          <a:prstGeom prst="round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
        <p:nvSpPr>
          <p:cNvPr id="35" name="Rectangle: Rounded Corners 34">
            <a:extLst>
              <a:ext uri="{FF2B5EF4-FFF2-40B4-BE49-F238E27FC236}">
                <a16:creationId xmlns:a16="http://schemas.microsoft.com/office/drawing/2014/main" id="{7B3ACE59-12F2-4CEA-B1D5-DE3614B65852}"/>
              </a:ext>
            </a:extLst>
          </p:cNvPr>
          <p:cNvSpPr/>
          <p:nvPr/>
        </p:nvSpPr>
        <p:spPr>
          <a:xfrm>
            <a:off x="6364705" y="2947424"/>
            <a:ext cx="48127" cy="61361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
        <p:nvSpPr>
          <p:cNvPr id="36" name="Rectangle: Rounded Corners 35">
            <a:extLst>
              <a:ext uri="{FF2B5EF4-FFF2-40B4-BE49-F238E27FC236}">
                <a16:creationId xmlns:a16="http://schemas.microsoft.com/office/drawing/2014/main" id="{69BAF0BD-D44E-4270-94C7-0FE158CC0756}"/>
              </a:ext>
            </a:extLst>
          </p:cNvPr>
          <p:cNvSpPr/>
          <p:nvPr/>
        </p:nvSpPr>
        <p:spPr>
          <a:xfrm>
            <a:off x="6364705" y="3859101"/>
            <a:ext cx="48127" cy="613611"/>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
        <p:nvSpPr>
          <p:cNvPr id="37" name="Rectangle: Rounded Corners 36">
            <a:extLst>
              <a:ext uri="{FF2B5EF4-FFF2-40B4-BE49-F238E27FC236}">
                <a16:creationId xmlns:a16="http://schemas.microsoft.com/office/drawing/2014/main" id="{DD6668D9-E713-4269-8EE3-B629207A6EC0}"/>
              </a:ext>
            </a:extLst>
          </p:cNvPr>
          <p:cNvSpPr/>
          <p:nvPr/>
        </p:nvSpPr>
        <p:spPr>
          <a:xfrm>
            <a:off x="6364705" y="4763316"/>
            <a:ext cx="48127" cy="613611"/>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
        <p:nvSpPr>
          <p:cNvPr id="38" name="Rectangle: Rounded Corners 37">
            <a:extLst>
              <a:ext uri="{FF2B5EF4-FFF2-40B4-BE49-F238E27FC236}">
                <a16:creationId xmlns:a16="http://schemas.microsoft.com/office/drawing/2014/main" id="{404BC868-E6B0-4092-A858-3653C48C58EC}"/>
              </a:ext>
            </a:extLst>
          </p:cNvPr>
          <p:cNvSpPr/>
          <p:nvPr/>
        </p:nvSpPr>
        <p:spPr>
          <a:xfrm>
            <a:off x="6364705" y="5585158"/>
            <a:ext cx="48127" cy="613611"/>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Tree>
    <p:extLst>
      <p:ext uri="{BB962C8B-B14F-4D97-AF65-F5344CB8AC3E}">
        <p14:creationId xmlns:p14="http://schemas.microsoft.com/office/powerpoint/2010/main" val="22110074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EFF4D0F-EC1A-3E8B-1048-C20F23089DE1}"/>
              </a:ext>
            </a:extLst>
          </p:cNvPr>
          <p:cNvSpPr>
            <a:spLocks noGrp="1"/>
          </p:cNvSpPr>
          <p:nvPr>
            <p:ph sz="quarter" idx="18"/>
          </p:nvPr>
        </p:nvSpPr>
        <p:spPr>
          <a:xfrm>
            <a:off x="381000" y="1402848"/>
            <a:ext cx="11430000" cy="4660022"/>
          </a:xfrm>
          <a:solidFill>
            <a:schemeClr val="bg1"/>
          </a:solidFill>
        </p:spPr>
        <p:txBody>
          <a:bodyPr/>
          <a:lstStyle/>
          <a:p>
            <a:pPr marL="0" indent="0">
              <a:lnSpc>
                <a:spcPct val="100000"/>
              </a:lnSpc>
              <a:spcBef>
                <a:spcPts val="300"/>
              </a:spcBef>
              <a:buNone/>
            </a:pPr>
            <a:r>
              <a:rPr lang="en-US" sz="1500" b="1" dirty="0">
                <a:solidFill>
                  <a:schemeClr val="accent5"/>
                </a:solidFill>
              </a:rPr>
              <a:t>Privacy</a:t>
            </a:r>
          </a:p>
          <a:p>
            <a:pPr>
              <a:lnSpc>
                <a:spcPct val="100000"/>
              </a:lnSpc>
              <a:spcBef>
                <a:spcPts val="300"/>
              </a:spcBef>
            </a:pPr>
            <a:r>
              <a:rPr lang="en-US" sz="1500" dirty="0"/>
              <a:t>Ensure that inputs are not used to train underlying models</a:t>
            </a:r>
          </a:p>
          <a:p>
            <a:pPr>
              <a:lnSpc>
                <a:spcPct val="100000"/>
              </a:lnSpc>
              <a:spcBef>
                <a:spcPts val="300"/>
              </a:spcBef>
            </a:pPr>
            <a:r>
              <a:rPr lang="en-US" sz="1500" dirty="0"/>
              <a:t>Will any data collected by the tool be sold or shared with any third-parties (including foundational model providers)</a:t>
            </a:r>
          </a:p>
          <a:p>
            <a:pPr>
              <a:lnSpc>
                <a:spcPct val="100000"/>
              </a:lnSpc>
              <a:spcBef>
                <a:spcPts val="300"/>
              </a:spcBef>
            </a:pPr>
            <a:r>
              <a:rPr lang="en-US" sz="1500" dirty="0"/>
              <a:t>How are prompts logged?  Can they be attributable to specific users/organizations?</a:t>
            </a:r>
          </a:p>
          <a:p>
            <a:pPr>
              <a:lnSpc>
                <a:spcPct val="100000"/>
              </a:lnSpc>
              <a:spcBef>
                <a:spcPts val="300"/>
              </a:spcBef>
            </a:pPr>
            <a:r>
              <a:rPr lang="en-US" sz="1500" dirty="0"/>
              <a:t>How long will input data and/or prompts be retained? Is personal information deidentified?</a:t>
            </a:r>
          </a:p>
          <a:p>
            <a:pPr>
              <a:lnSpc>
                <a:spcPct val="100000"/>
              </a:lnSpc>
              <a:spcBef>
                <a:spcPts val="300"/>
              </a:spcBef>
            </a:pPr>
            <a:r>
              <a:rPr lang="en-US" sz="1500" dirty="0"/>
              <a:t>Deletion protocols</a:t>
            </a:r>
          </a:p>
          <a:p>
            <a:pPr>
              <a:lnSpc>
                <a:spcPct val="100000"/>
              </a:lnSpc>
              <a:spcBef>
                <a:spcPts val="300"/>
              </a:spcBef>
            </a:pPr>
            <a:endParaRPr lang="en-US" sz="1500" dirty="0"/>
          </a:p>
          <a:p>
            <a:pPr marL="0" indent="0">
              <a:lnSpc>
                <a:spcPct val="100000"/>
              </a:lnSpc>
              <a:spcBef>
                <a:spcPts val="300"/>
              </a:spcBef>
              <a:buNone/>
            </a:pPr>
            <a:r>
              <a:rPr lang="en-US" sz="1500" b="1" dirty="0">
                <a:solidFill>
                  <a:schemeClr val="accent5"/>
                </a:solidFill>
              </a:rPr>
              <a:t>IP + Information Security</a:t>
            </a:r>
            <a:r>
              <a:rPr lang="en-US" sz="1500" dirty="0"/>
              <a:t> </a:t>
            </a:r>
          </a:p>
          <a:p>
            <a:pPr>
              <a:lnSpc>
                <a:spcPct val="100000"/>
              </a:lnSpc>
              <a:spcBef>
                <a:spcPts val="300"/>
              </a:spcBef>
            </a:pPr>
            <a:r>
              <a:rPr lang="en-US" sz="1500" dirty="0"/>
              <a:t>Ensure necessary IP rights – including ownership of outputs</a:t>
            </a:r>
          </a:p>
          <a:p>
            <a:pPr>
              <a:lnSpc>
                <a:spcPct val="100000"/>
              </a:lnSpc>
              <a:spcBef>
                <a:spcPts val="300"/>
              </a:spcBef>
            </a:pPr>
            <a:r>
              <a:rPr lang="en-US" sz="1500" dirty="0"/>
              <a:t>What security controls does vendor have in place to protect access to data?</a:t>
            </a:r>
          </a:p>
          <a:p>
            <a:pPr>
              <a:lnSpc>
                <a:spcPct val="100000"/>
              </a:lnSpc>
              <a:spcBef>
                <a:spcPts val="300"/>
              </a:spcBef>
            </a:pPr>
            <a:r>
              <a:rPr lang="en-US" sz="1500" dirty="0"/>
              <a:t>Has the vendor performed a risk assessment and/or have third-party validation of the application?</a:t>
            </a:r>
          </a:p>
          <a:p>
            <a:pPr>
              <a:lnSpc>
                <a:spcPct val="100000"/>
              </a:lnSpc>
              <a:spcBef>
                <a:spcPts val="300"/>
              </a:spcBef>
            </a:pPr>
            <a:endParaRPr lang="en-US" sz="1500" dirty="0"/>
          </a:p>
          <a:p>
            <a:pPr marL="0" indent="0">
              <a:lnSpc>
                <a:spcPct val="100000"/>
              </a:lnSpc>
              <a:spcBef>
                <a:spcPts val="300"/>
              </a:spcBef>
              <a:buNone/>
            </a:pPr>
            <a:r>
              <a:rPr lang="en-US" sz="1500" b="1" dirty="0">
                <a:solidFill>
                  <a:schemeClr val="accent5"/>
                </a:solidFill>
              </a:rPr>
              <a:t>Bias, Discrimination, and Hallucinations</a:t>
            </a:r>
          </a:p>
          <a:p>
            <a:pPr>
              <a:lnSpc>
                <a:spcPct val="100000"/>
              </a:lnSpc>
              <a:spcBef>
                <a:spcPts val="300"/>
              </a:spcBef>
            </a:pPr>
            <a:r>
              <a:rPr lang="en-US" sz="1500" dirty="0"/>
              <a:t>Does vendor use Retrieval-Augmented Generation (RAG) to reduce risk of hallucinations?</a:t>
            </a:r>
          </a:p>
          <a:p>
            <a:pPr>
              <a:lnSpc>
                <a:spcPct val="100000"/>
              </a:lnSpc>
              <a:spcBef>
                <a:spcPts val="300"/>
              </a:spcBef>
            </a:pPr>
            <a:r>
              <a:rPr lang="en-US" sz="1500" dirty="0"/>
              <a:t>Do the results include citations to the source materials for review and verification?</a:t>
            </a:r>
          </a:p>
          <a:p>
            <a:pPr>
              <a:lnSpc>
                <a:spcPct val="100000"/>
              </a:lnSpc>
              <a:spcBef>
                <a:spcPts val="300"/>
              </a:spcBef>
            </a:pPr>
            <a:r>
              <a:rPr lang="en-US" sz="1500" dirty="0"/>
              <a:t>What levels of human oversight are used to ensure it is operating properly?</a:t>
            </a:r>
          </a:p>
        </p:txBody>
      </p:sp>
      <p:sp>
        <p:nvSpPr>
          <p:cNvPr id="3" name="Text Placeholder 2">
            <a:extLst>
              <a:ext uri="{FF2B5EF4-FFF2-40B4-BE49-F238E27FC236}">
                <a16:creationId xmlns:a16="http://schemas.microsoft.com/office/drawing/2014/main" id="{7B353CD3-4B05-8DDB-D293-4363791262D7}"/>
              </a:ext>
            </a:extLst>
          </p:cNvPr>
          <p:cNvSpPr>
            <a:spLocks noGrp="1"/>
          </p:cNvSpPr>
          <p:nvPr>
            <p:ph type="body" sz="quarter" idx="15"/>
          </p:nvPr>
        </p:nvSpPr>
        <p:spPr/>
        <p:txBody>
          <a:bodyPr/>
          <a:lstStyle/>
          <a:p>
            <a:r>
              <a:rPr lang="en-US" dirty="0"/>
              <a:t>ADDITIONAL VETTING CRITERIA</a:t>
            </a:r>
          </a:p>
        </p:txBody>
      </p:sp>
      <p:sp>
        <p:nvSpPr>
          <p:cNvPr id="4" name="Text Placeholder 3">
            <a:extLst>
              <a:ext uri="{FF2B5EF4-FFF2-40B4-BE49-F238E27FC236}">
                <a16:creationId xmlns:a16="http://schemas.microsoft.com/office/drawing/2014/main" id="{BEA6ABE3-38A9-B254-4879-A6F492EAA447}"/>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42775790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27B2684-0AEA-8EB7-CD92-948952E8DC90}"/>
              </a:ext>
            </a:extLst>
          </p:cNvPr>
          <p:cNvSpPr>
            <a:spLocks noGrp="1"/>
          </p:cNvSpPr>
          <p:nvPr>
            <p:ph sz="quarter" idx="18"/>
          </p:nvPr>
        </p:nvSpPr>
        <p:spPr/>
        <p:txBody>
          <a:bodyPr/>
          <a:lstStyle/>
          <a:p>
            <a:r>
              <a:rPr lang="en-US" sz="1800" dirty="0"/>
              <a:t>Clients should review potential AI vendors through their usual vendor diligence process, including IT and InfoSec.</a:t>
            </a:r>
          </a:p>
          <a:p>
            <a:r>
              <a:rPr lang="en-US" sz="1800" dirty="0"/>
              <a:t>You must understand the particular engagement and service/technology being provided (e.g., custom development, model-as-a-service, etc.):</a:t>
            </a:r>
          </a:p>
          <a:p>
            <a:pPr lvl="1"/>
            <a:r>
              <a:rPr lang="en-US" sz="1800" dirty="0"/>
              <a:t>Consider updates, support, maintenance, etc.</a:t>
            </a:r>
          </a:p>
          <a:p>
            <a:r>
              <a:rPr lang="en-US" sz="1800" dirty="0"/>
              <a:t>Restrict the vendor’s data processing rights where applicable:</a:t>
            </a:r>
          </a:p>
          <a:p>
            <a:pPr lvl="1"/>
            <a:r>
              <a:rPr lang="en-US" sz="1800" dirty="0"/>
              <a:t>Review data use agreements, data processing agreements, data licensing agreements, etc., with AI-related issues in mind; and</a:t>
            </a:r>
          </a:p>
          <a:p>
            <a:pPr lvl="1"/>
            <a:r>
              <a:rPr lang="en-US" sz="1800" dirty="0"/>
              <a:t>Consider whether it is appropriate for the client’s input data to be used as training data to improve the model.</a:t>
            </a:r>
          </a:p>
          <a:p>
            <a:r>
              <a:rPr lang="en-US" sz="1800" dirty="0"/>
              <a:t>Obtain commitments that the vendor will provide all information necessary to fulfill applicable legal obligations (e.g., notice and transparency obligations).</a:t>
            </a:r>
          </a:p>
          <a:p>
            <a:r>
              <a:rPr lang="en-US" sz="1800" dirty="0"/>
              <a:t>Review and negotiate the representations/warranties, risk, and liability terms with AI-specific issues in mind, including with respect to IP infringement, compliance, etc.</a:t>
            </a:r>
          </a:p>
        </p:txBody>
      </p:sp>
      <p:sp>
        <p:nvSpPr>
          <p:cNvPr id="3" name="Text Placeholder 2">
            <a:extLst>
              <a:ext uri="{FF2B5EF4-FFF2-40B4-BE49-F238E27FC236}">
                <a16:creationId xmlns:a16="http://schemas.microsoft.com/office/drawing/2014/main" id="{97A65036-45E9-ED43-0095-AF222E656D39}"/>
              </a:ext>
            </a:extLst>
          </p:cNvPr>
          <p:cNvSpPr>
            <a:spLocks noGrp="1"/>
          </p:cNvSpPr>
          <p:nvPr>
            <p:ph type="body" sz="quarter" idx="15"/>
          </p:nvPr>
        </p:nvSpPr>
        <p:spPr/>
        <p:txBody>
          <a:bodyPr/>
          <a:lstStyle/>
          <a:p>
            <a:r>
              <a:rPr lang="en-US" dirty="0"/>
              <a:t>NEGOTIATING AI VENDOR AGREEMENTS</a:t>
            </a:r>
          </a:p>
        </p:txBody>
      </p:sp>
      <p:sp>
        <p:nvSpPr>
          <p:cNvPr id="4" name="Text Placeholder 3">
            <a:extLst>
              <a:ext uri="{FF2B5EF4-FFF2-40B4-BE49-F238E27FC236}">
                <a16:creationId xmlns:a16="http://schemas.microsoft.com/office/drawing/2014/main" id="{EF85537C-C381-8A55-672B-DF3C9F95F6F7}"/>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34863957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92968E6-9CB1-6785-88B4-C15F16096B9B}"/>
              </a:ext>
            </a:extLst>
          </p:cNvPr>
          <p:cNvSpPr>
            <a:spLocks noGrp="1"/>
          </p:cNvSpPr>
          <p:nvPr>
            <p:ph sz="quarter" idx="18"/>
          </p:nvPr>
        </p:nvSpPr>
        <p:spPr/>
        <p:txBody>
          <a:bodyPr/>
          <a:lstStyle/>
          <a:p>
            <a:r>
              <a:rPr lang="en-US" dirty="0"/>
              <a:t>People, Processes, Technologies</a:t>
            </a:r>
          </a:p>
          <a:p>
            <a:pPr lvl="1"/>
            <a:r>
              <a:rPr lang="en-US" dirty="0"/>
              <a:t>Governance and AI management.</a:t>
            </a:r>
          </a:p>
          <a:p>
            <a:pPr lvl="1"/>
            <a:r>
              <a:rPr lang="en-US" dirty="0"/>
              <a:t>Review and update policies regarding data use and information management.</a:t>
            </a:r>
          </a:p>
          <a:p>
            <a:pPr lvl="1"/>
            <a:r>
              <a:rPr lang="en-US" dirty="0"/>
              <a:t>Consider contractual obligations regarding data usage.</a:t>
            </a:r>
          </a:p>
          <a:p>
            <a:pPr lvl="1"/>
            <a:r>
              <a:rPr lang="en-US" dirty="0"/>
              <a:t>Develop procurement standards for AI-based technologies.</a:t>
            </a:r>
          </a:p>
          <a:p>
            <a:pPr lvl="1"/>
            <a:r>
              <a:rPr lang="en-US" dirty="0"/>
              <a:t>Train employees, particularly regarding use of information.</a:t>
            </a:r>
          </a:p>
          <a:p>
            <a:r>
              <a:rPr lang="en-US" dirty="0"/>
              <a:t>Privacy Notice Revisions</a:t>
            </a:r>
          </a:p>
          <a:p>
            <a:pPr lvl="1"/>
            <a:r>
              <a:rPr lang="en-US" dirty="0"/>
              <a:t>Data processing activities should be described and be easily accessible.</a:t>
            </a:r>
          </a:p>
          <a:p>
            <a:pPr lvl="1"/>
            <a:r>
              <a:rPr lang="en-US" dirty="0"/>
              <a:t>Individuals should be able to understand the disclosures regarding the AI systems' methods, accuracy, data retention, and use.</a:t>
            </a:r>
          </a:p>
          <a:p>
            <a:r>
              <a:rPr lang="en-US" dirty="0"/>
              <a:t>Regularly update and review policies, accounting for changes in the law and operations.</a:t>
            </a:r>
          </a:p>
          <a:p>
            <a:r>
              <a:rPr lang="en-US" dirty="0"/>
              <a:t>Processes and procedures for decommissioning and phasing out AI systems.</a:t>
            </a:r>
          </a:p>
          <a:p>
            <a:r>
              <a:rPr lang="en-US" dirty="0"/>
              <a:t>Processes for monitoring, reporting, and responding to errors and incidents.</a:t>
            </a:r>
          </a:p>
          <a:p>
            <a:pPr marL="0" indent="0">
              <a:buNone/>
            </a:pPr>
            <a:endParaRPr lang="en-US" dirty="0"/>
          </a:p>
        </p:txBody>
      </p:sp>
      <p:sp>
        <p:nvSpPr>
          <p:cNvPr id="3" name="Text Placeholder 2">
            <a:extLst>
              <a:ext uri="{FF2B5EF4-FFF2-40B4-BE49-F238E27FC236}">
                <a16:creationId xmlns:a16="http://schemas.microsoft.com/office/drawing/2014/main" id="{FB7DB658-4B42-1564-D3A6-27ACA8D0A36F}"/>
              </a:ext>
            </a:extLst>
          </p:cNvPr>
          <p:cNvSpPr>
            <a:spLocks noGrp="1"/>
          </p:cNvSpPr>
          <p:nvPr>
            <p:ph type="body" sz="quarter" idx="15"/>
          </p:nvPr>
        </p:nvSpPr>
        <p:spPr/>
        <p:txBody>
          <a:bodyPr/>
          <a:lstStyle/>
          <a:p>
            <a:r>
              <a:rPr lang="en-US" dirty="0"/>
              <a:t>RISK MANAGEMENT – AI AND DATA GOVERNANCE</a:t>
            </a:r>
          </a:p>
        </p:txBody>
      </p:sp>
      <p:sp>
        <p:nvSpPr>
          <p:cNvPr id="4" name="Text Placeholder 3">
            <a:extLst>
              <a:ext uri="{FF2B5EF4-FFF2-40B4-BE49-F238E27FC236}">
                <a16:creationId xmlns:a16="http://schemas.microsoft.com/office/drawing/2014/main" id="{7C0B8648-ACE0-5EBA-F77C-52DD4B01E43C}"/>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29685433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D4DDB7F-FF47-130F-AE7E-01742AD0EF3B}"/>
              </a:ext>
            </a:extLst>
          </p:cNvPr>
          <p:cNvSpPr>
            <a:spLocks noGrp="1"/>
          </p:cNvSpPr>
          <p:nvPr>
            <p:ph type="body" sz="quarter" idx="12"/>
          </p:nvPr>
        </p:nvSpPr>
        <p:spPr/>
        <p:txBody>
          <a:bodyPr/>
          <a:lstStyle/>
          <a:p>
            <a:r>
              <a:rPr lang="en-US" dirty="0"/>
              <a:t>Whoops!!! – Cautionary Tales</a:t>
            </a:r>
          </a:p>
        </p:txBody>
      </p:sp>
    </p:spTree>
    <p:extLst>
      <p:ext uri="{BB962C8B-B14F-4D97-AF65-F5344CB8AC3E}">
        <p14:creationId xmlns:p14="http://schemas.microsoft.com/office/powerpoint/2010/main" val="16705651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6F422CB-DD7E-EEBA-70D5-4F12DD743CC5}"/>
              </a:ext>
            </a:extLst>
          </p:cNvPr>
          <p:cNvSpPr>
            <a:spLocks noGrp="1"/>
          </p:cNvSpPr>
          <p:nvPr>
            <p:ph type="body" sz="quarter" idx="18"/>
          </p:nvPr>
        </p:nvSpPr>
        <p:spPr/>
        <p:txBody>
          <a:bodyPr/>
          <a:lstStyle/>
          <a:p>
            <a:r>
              <a:rPr lang="en-US" sz="1800" dirty="0">
                <a:solidFill>
                  <a:schemeClr val="accent5"/>
                </a:solidFill>
              </a:rPr>
              <a:t>Recent study led by researchers at Carnegie Mellon tested several models to see how they would </a:t>
            </a:r>
            <a:r>
              <a:rPr lang="en-US" sz="1800" dirty="0">
                <a:solidFill>
                  <a:srgbClr val="FF0000"/>
                </a:solidFill>
              </a:rPr>
              <a:t>respond to questions on controversial topics</a:t>
            </a:r>
            <a:r>
              <a:rPr lang="en-US" sz="1800" dirty="0"/>
              <a:t>.</a:t>
            </a:r>
          </a:p>
          <a:p>
            <a:r>
              <a:rPr lang="en-US" sz="1800" dirty="0">
                <a:solidFill>
                  <a:schemeClr val="accent5"/>
                </a:solidFill>
              </a:rPr>
              <a:t>Topics included social welfare, LGBTQ+, surrogacy, and more.</a:t>
            </a:r>
          </a:p>
          <a:p>
            <a:r>
              <a:rPr lang="en-US" sz="1800" dirty="0">
                <a:solidFill>
                  <a:schemeClr val="accent5"/>
                </a:solidFill>
              </a:rPr>
              <a:t>Researchers found a “</a:t>
            </a:r>
            <a:r>
              <a:rPr lang="en-US" sz="1800" dirty="0">
                <a:solidFill>
                  <a:srgbClr val="FF0000"/>
                </a:solidFill>
              </a:rPr>
              <a:t>significant variation in the values conveyed by model responses</a:t>
            </a:r>
            <a:r>
              <a:rPr lang="en-US" sz="1800" dirty="0">
                <a:solidFill>
                  <a:schemeClr val="accent5"/>
                </a:solidFill>
              </a:rPr>
              <a:t>, depending upon culture and language.”  </a:t>
            </a:r>
          </a:p>
          <a:p>
            <a:r>
              <a:rPr lang="en-US" sz="1800" dirty="0">
                <a:solidFill>
                  <a:schemeClr val="accent5"/>
                </a:solidFill>
              </a:rPr>
              <a:t> Some questions triggered refusals where the </a:t>
            </a:r>
            <a:r>
              <a:rPr lang="en-US" sz="1800" dirty="0">
                <a:solidFill>
                  <a:srgbClr val="FF0000"/>
                </a:solidFill>
              </a:rPr>
              <a:t>models didn’t answer</a:t>
            </a:r>
            <a:r>
              <a:rPr lang="en-US" sz="1800" dirty="0">
                <a:solidFill>
                  <a:schemeClr val="accent5"/>
                </a:solidFill>
              </a:rPr>
              <a:t>.  </a:t>
            </a:r>
          </a:p>
          <a:p>
            <a:r>
              <a:rPr lang="en-US" sz="1800" dirty="0">
                <a:solidFill>
                  <a:schemeClr val="accent5"/>
                </a:solidFill>
              </a:rPr>
              <a:t>Potential factors include:</a:t>
            </a:r>
          </a:p>
          <a:p>
            <a:pPr lvl="1"/>
            <a:r>
              <a:rPr lang="en-US" sz="1800" dirty="0">
                <a:solidFill>
                  <a:schemeClr val="accent5"/>
                </a:solidFill>
              </a:rPr>
              <a:t>Political pressures</a:t>
            </a:r>
          </a:p>
          <a:p>
            <a:pPr lvl="1"/>
            <a:r>
              <a:rPr lang="en-US" sz="1800" dirty="0">
                <a:solidFill>
                  <a:schemeClr val="accent5"/>
                </a:solidFill>
              </a:rPr>
              <a:t>Culture</a:t>
            </a:r>
          </a:p>
          <a:p>
            <a:pPr lvl="1"/>
            <a:r>
              <a:rPr lang="en-US" sz="1800" dirty="0">
                <a:solidFill>
                  <a:schemeClr val="accent5"/>
                </a:solidFill>
              </a:rPr>
              <a:t>Personnel annotating training data</a:t>
            </a:r>
          </a:p>
        </p:txBody>
      </p:sp>
      <p:sp>
        <p:nvSpPr>
          <p:cNvPr id="4" name="Text Placeholder 3">
            <a:extLst>
              <a:ext uri="{FF2B5EF4-FFF2-40B4-BE49-F238E27FC236}">
                <a16:creationId xmlns:a16="http://schemas.microsoft.com/office/drawing/2014/main" id="{A4377528-2AD5-D926-E8E0-214B4AD1514F}"/>
              </a:ext>
            </a:extLst>
          </p:cNvPr>
          <p:cNvSpPr>
            <a:spLocks noGrp="1"/>
          </p:cNvSpPr>
          <p:nvPr>
            <p:ph type="body" sz="quarter" idx="15"/>
          </p:nvPr>
        </p:nvSpPr>
        <p:spPr/>
        <p:txBody>
          <a:bodyPr/>
          <a:lstStyle/>
          <a:p>
            <a:r>
              <a:rPr lang="en-US" dirty="0"/>
              <a:t>INCONSISTENT RESPONSES + BIAS</a:t>
            </a:r>
          </a:p>
        </p:txBody>
      </p:sp>
      <p:pic>
        <p:nvPicPr>
          <p:cNvPr id="1026" name="Picture 2">
            <a:extLst>
              <a:ext uri="{FF2B5EF4-FFF2-40B4-BE49-F238E27FC236}">
                <a16:creationId xmlns:a16="http://schemas.microsoft.com/office/drawing/2014/main" id="{621CEE39-814B-4E6E-BE82-8142CDFEBBD5}"/>
              </a:ext>
            </a:extLst>
          </p:cNvPr>
          <p:cNvPicPr>
            <a:picLocks noChangeAspect="1" noChangeArrowheads="1"/>
          </p:cNvPicPr>
          <p:nvPr/>
        </p:nvPicPr>
        <p:blipFill>
          <a:blip r:embed="rId2"/>
          <a:srcRect/>
          <a:stretch/>
        </p:blipFill>
        <p:spPr bwMode="auto">
          <a:xfrm>
            <a:off x="390331" y="2867487"/>
            <a:ext cx="5696292" cy="143910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31769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417214D-FD35-59EA-74CD-59C5560060CF}"/>
              </a:ext>
            </a:extLst>
          </p:cNvPr>
          <p:cNvSpPr>
            <a:spLocks noGrp="1"/>
          </p:cNvSpPr>
          <p:nvPr>
            <p:ph type="body" sz="quarter" idx="10"/>
          </p:nvPr>
        </p:nvSpPr>
        <p:spPr>
          <a:xfrm>
            <a:off x="301650" y="2574925"/>
            <a:ext cx="3200400" cy="854075"/>
          </a:xfrm>
        </p:spPr>
        <p:txBody>
          <a:bodyPr/>
          <a:lstStyle/>
          <a:p>
            <a:r>
              <a:rPr lang="en-US" dirty="0"/>
              <a:t>SAMSUNG PROPRIETARY DATA</a:t>
            </a:r>
          </a:p>
        </p:txBody>
      </p:sp>
      <p:sp>
        <p:nvSpPr>
          <p:cNvPr id="7" name="Text Placeholder 6">
            <a:extLst>
              <a:ext uri="{FF2B5EF4-FFF2-40B4-BE49-F238E27FC236}">
                <a16:creationId xmlns:a16="http://schemas.microsoft.com/office/drawing/2014/main" id="{B52FF516-3B11-2E06-93D1-25210827BF4C}"/>
              </a:ext>
            </a:extLst>
          </p:cNvPr>
          <p:cNvSpPr>
            <a:spLocks noGrp="1"/>
          </p:cNvSpPr>
          <p:nvPr>
            <p:ph type="body" sz="quarter" idx="61"/>
          </p:nvPr>
        </p:nvSpPr>
        <p:spPr>
          <a:xfrm>
            <a:off x="4953000" y="2389238"/>
            <a:ext cx="6858000" cy="3725811"/>
          </a:xfrm>
        </p:spPr>
        <p:txBody>
          <a:bodyPr>
            <a:normAutofit/>
          </a:bodyPr>
          <a:lstStyle/>
          <a:p>
            <a:r>
              <a:rPr lang="en-US" sz="1600" dirty="0"/>
              <a:t>Samsung employees accidentally shared confidential information while using ChatGPT for help at work. </a:t>
            </a:r>
          </a:p>
          <a:p>
            <a:endParaRPr lang="en-US" sz="1600" dirty="0"/>
          </a:p>
          <a:p>
            <a:r>
              <a:rPr lang="en-US" sz="1600" dirty="0"/>
              <a:t>Samsung's semiconductor division has allowed engineers to use ChatGPT to check source code. In one instance, an employee pasted confidential source code into the chat to check for errors. Another employee shared code with ChatGPT and "requested code optimization." A third, shared a recording of a meeting to convert into notes for a presentation. </a:t>
            </a:r>
          </a:p>
          <a:p>
            <a:endParaRPr lang="en-US" sz="1600" dirty="0"/>
          </a:p>
          <a:p>
            <a:r>
              <a:rPr lang="en-US" sz="1600" dirty="0"/>
              <a:t>That information is now out in the wild for ChatGPT to feed on.</a:t>
            </a:r>
          </a:p>
          <a:p>
            <a:endParaRPr lang="en-US" sz="1600" dirty="0"/>
          </a:p>
          <a:p>
            <a:r>
              <a:rPr lang="en-US" sz="1600" dirty="0"/>
              <a:t>Samsung has since banned ChatGPT use.</a:t>
            </a:r>
          </a:p>
        </p:txBody>
      </p:sp>
      <p:pic>
        <p:nvPicPr>
          <p:cNvPr id="8" name="Picture 7">
            <a:extLst>
              <a:ext uri="{FF2B5EF4-FFF2-40B4-BE49-F238E27FC236}">
                <a16:creationId xmlns:a16="http://schemas.microsoft.com/office/drawing/2014/main" id="{06525C3C-84C1-4945-55D4-9E3C9F39814B}"/>
              </a:ext>
            </a:extLst>
          </p:cNvPr>
          <p:cNvPicPr>
            <a:picLocks noChangeAspect="1"/>
          </p:cNvPicPr>
          <p:nvPr/>
        </p:nvPicPr>
        <p:blipFill>
          <a:blip r:embed="rId2"/>
          <a:stretch>
            <a:fillRect/>
          </a:stretch>
        </p:blipFill>
        <p:spPr>
          <a:xfrm>
            <a:off x="4953000" y="389200"/>
            <a:ext cx="5886450" cy="1827756"/>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425196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A6F3AF4-514F-DE3B-7C7E-337BBB8F6318}"/>
              </a:ext>
            </a:extLst>
          </p:cNvPr>
          <p:cNvSpPr>
            <a:spLocks noGrp="1"/>
          </p:cNvSpPr>
          <p:nvPr>
            <p:ph type="body" sz="quarter" idx="15"/>
          </p:nvPr>
        </p:nvSpPr>
        <p:spPr/>
        <p:txBody>
          <a:bodyPr/>
          <a:lstStyle/>
          <a:p>
            <a:r>
              <a:rPr lang="en-US" dirty="0"/>
              <a:t>INTEREST IN AI OVER THE LAST 5 YEARS</a:t>
            </a:r>
          </a:p>
        </p:txBody>
      </p:sp>
      <p:sp>
        <p:nvSpPr>
          <p:cNvPr id="3" name="Text Placeholder 2">
            <a:extLst>
              <a:ext uri="{FF2B5EF4-FFF2-40B4-BE49-F238E27FC236}">
                <a16:creationId xmlns:a16="http://schemas.microsoft.com/office/drawing/2014/main" id="{79A2FF08-E380-C2D7-209A-002F30BF1AA8}"/>
              </a:ext>
            </a:extLst>
          </p:cNvPr>
          <p:cNvSpPr>
            <a:spLocks noGrp="1"/>
          </p:cNvSpPr>
          <p:nvPr>
            <p:ph type="body" sz="quarter" idx="16"/>
          </p:nvPr>
        </p:nvSpPr>
        <p:spPr>
          <a:xfrm>
            <a:off x="390331" y="933098"/>
            <a:ext cx="11430000" cy="274320"/>
          </a:xfrm>
        </p:spPr>
        <p:txBody>
          <a:bodyPr/>
          <a:lstStyle/>
          <a:p>
            <a:r>
              <a:rPr lang="en-US" dirty="0"/>
              <a:t>Google searches for “Artificial Intelligence”</a:t>
            </a:r>
          </a:p>
        </p:txBody>
      </p:sp>
      <p:pic>
        <p:nvPicPr>
          <p:cNvPr id="4" name="Picture 3">
            <a:extLst>
              <a:ext uri="{FF2B5EF4-FFF2-40B4-BE49-F238E27FC236}">
                <a16:creationId xmlns:a16="http://schemas.microsoft.com/office/drawing/2014/main" id="{D2ACC53F-9D02-AE27-2A24-8386469542A0}"/>
              </a:ext>
            </a:extLst>
          </p:cNvPr>
          <p:cNvPicPr>
            <a:picLocks noChangeAspect="1"/>
          </p:cNvPicPr>
          <p:nvPr/>
        </p:nvPicPr>
        <p:blipFill>
          <a:blip r:embed="rId2"/>
          <a:stretch>
            <a:fillRect/>
          </a:stretch>
        </p:blipFill>
        <p:spPr>
          <a:xfrm>
            <a:off x="2382034" y="1261235"/>
            <a:ext cx="7427929" cy="2286000"/>
          </a:xfrm>
          <a:prstGeom prst="rect">
            <a:avLst/>
          </a:prstGeom>
          <a:ln>
            <a:solidFill>
              <a:schemeClr val="tx1"/>
            </a:solidFill>
          </a:ln>
          <a:effectLst>
            <a:outerShdw blurRad="292100" dist="139700" dir="2700000" algn="tl" rotWithShape="0">
              <a:srgbClr val="333333">
                <a:alpha val="65000"/>
              </a:srgbClr>
            </a:outerShdw>
          </a:effectLst>
        </p:spPr>
      </p:pic>
      <p:sp>
        <p:nvSpPr>
          <p:cNvPr id="5" name="Text Placeholder 2">
            <a:extLst>
              <a:ext uri="{FF2B5EF4-FFF2-40B4-BE49-F238E27FC236}">
                <a16:creationId xmlns:a16="http://schemas.microsoft.com/office/drawing/2014/main" id="{F48EA5B7-E0C4-5B8B-04B9-6FB8EFB24B68}"/>
              </a:ext>
            </a:extLst>
          </p:cNvPr>
          <p:cNvSpPr txBox="1">
            <a:spLocks/>
          </p:cNvSpPr>
          <p:nvPr/>
        </p:nvSpPr>
        <p:spPr>
          <a:xfrm>
            <a:off x="390331" y="3745444"/>
            <a:ext cx="11430000" cy="274320"/>
          </a:xfrm>
          <a:prstGeom prst="rect">
            <a:avLst/>
          </a:prstGeom>
        </p:spPr>
        <p:txBody>
          <a:bodyPr anchor="ctr">
            <a:noAutofit/>
          </a:bodyPr>
          <a:lstStyle>
            <a:lvl1pPr marL="0" indent="0" algn="ctr" defTabSz="914400" rtl="0" eaLnBrk="1" latinLnBrk="0" hangingPunct="1">
              <a:lnSpc>
                <a:spcPct val="100000"/>
              </a:lnSpc>
              <a:spcBef>
                <a:spcPts val="0"/>
              </a:spcBef>
              <a:buFont typeface="Arial" panose="020B0604020202020204" pitchFamily="34" charset="0"/>
              <a:buNone/>
              <a:defRPr sz="1400" kern="1200">
                <a:solidFill>
                  <a:schemeClr val="tx1"/>
                </a:solidFill>
                <a:latin typeface="+mn-lt"/>
                <a:ea typeface="Open Sans Light" panose="020B0306030504020204" pitchFamily="34" charset="0"/>
                <a:cs typeface="Open Sans Light" panose="020B0306030504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2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Google searches for “ChatGPT”</a:t>
            </a:r>
          </a:p>
        </p:txBody>
      </p:sp>
      <p:pic>
        <p:nvPicPr>
          <p:cNvPr id="6" name="Picture 5">
            <a:extLst>
              <a:ext uri="{FF2B5EF4-FFF2-40B4-BE49-F238E27FC236}">
                <a16:creationId xmlns:a16="http://schemas.microsoft.com/office/drawing/2014/main" id="{4FB4918D-2B0A-9B80-DD16-DBD1F317CCA9}"/>
              </a:ext>
            </a:extLst>
          </p:cNvPr>
          <p:cNvPicPr>
            <a:picLocks noChangeAspect="1"/>
          </p:cNvPicPr>
          <p:nvPr/>
        </p:nvPicPr>
        <p:blipFill>
          <a:blip r:embed="rId3"/>
          <a:stretch>
            <a:fillRect/>
          </a:stretch>
        </p:blipFill>
        <p:spPr>
          <a:xfrm>
            <a:off x="2288466" y="4073581"/>
            <a:ext cx="7615063" cy="2286000"/>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8812054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77DED9-1321-5669-A743-70D6993ADAE9}"/>
              </a:ext>
            </a:extLst>
          </p:cNvPr>
          <p:cNvSpPr>
            <a:spLocks noGrp="1"/>
          </p:cNvSpPr>
          <p:nvPr>
            <p:ph type="body" sz="quarter" idx="10"/>
          </p:nvPr>
        </p:nvSpPr>
        <p:spPr/>
        <p:txBody>
          <a:bodyPr/>
          <a:lstStyle/>
          <a:p>
            <a:r>
              <a:rPr lang="en-US" sz="2800" dirty="0"/>
              <a:t>ANOTHER</a:t>
            </a:r>
          </a:p>
          <a:p>
            <a:r>
              <a:rPr lang="en-US" sz="2800" dirty="0"/>
              <a:t>LAWYER DISCIPLINED FOR CHATGPT USE</a:t>
            </a:r>
          </a:p>
        </p:txBody>
      </p:sp>
      <p:sp>
        <p:nvSpPr>
          <p:cNvPr id="4" name="Text Placeholder 3">
            <a:extLst>
              <a:ext uri="{FF2B5EF4-FFF2-40B4-BE49-F238E27FC236}">
                <a16:creationId xmlns:a16="http://schemas.microsoft.com/office/drawing/2014/main" id="{32524CB3-89A7-D5BD-B486-AC49BD163470}"/>
              </a:ext>
            </a:extLst>
          </p:cNvPr>
          <p:cNvSpPr>
            <a:spLocks noGrp="1"/>
          </p:cNvSpPr>
          <p:nvPr>
            <p:ph type="body" sz="quarter" idx="61"/>
          </p:nvPr>
        </p:nvSpPr>
        <p:spPr>
          <a:xfrm>
            <a:off x="381000" y="628650"/>
            <a:ext cx="7315200" cy="5486400"/>
          </a:xfrm>
        </p:spPr>
        <p:txBody>
          <a:bodyPr anchor="b">
            <a:normAutofit/>
          </a:bodyPr>
          <a:lstStyle/>
          <a:p>
            <a:r>
              <a:rPr lang="en-US" sz="1700" dirty="0"/>
              <a:t>A Colorado lawyer was suspended for a year for using ChatGPT to draft a legal document.</a:t>
            </a:r>
          </a:p>
          <a:p>
            <a:r>
              <a:rPr lang="en-US" sz="1700" dirty="0"/>
              <a:t>The lawyer “cited case law that he found through the artificial intelligence platform ChatGPT" to draft a motion in a civil case in May of 2023. The platform then produced cases that were incorrect and fictitious.</a:t>
            </a:r>
          </a:p>
          <a:p>
            <a:r>
              <a:rPr lang="en-US" sz="1700" dirty="0"/>
              <a:t>The judge asked the attorney about possible inaccuracies and the attorney attributed the mistakes to a legal intern. Six days after the hearing, he filed an affidavit explaining that he used the AI platform when he drafted the motion.</a:t>
            </a:r>
          </a:p>
          <a:p>
            <a:r>
              <a:rPr lang="en-US" sz="1700" dirty="0"/>
              <a:t>The presiding judge noted that the attorney violated several Rules of Professional Conduct.</a:t>
            </a:r>
          </a:p>
        </p:txBody>
      </p:sp>
      <p:pic>
        <p:nvPicPr>
          <p:cNvPr id="3" name="Picture 2">
            <a:extLst>
              <a:ext uri="{FF2B5EF4-FFF2-40B4-BE49-F238E27FC236}">
                <a16:creationId xmlns:a16="http://schemas.microsoft.com/office/drawing/2014/main" id="{06B02F4C-FC9B-E6B2-8156-D39234DEC2CC}"/>
              </a:ext>
            </a:extLst>
          </p:cNvPr>
          <p:cNvPicPr>
            <a:picLocks noChangeAspect="1"/>
          </p:cNvPicPr>
          <p:nvPr/>
        </p:nvPicPr>
        <p:blipFill>
          <a:blip r:embed="rId3"/>
          <a:stretch>
            <a:fillRect/>
          </a:stretch>
        </p:blipFill>
        <p:spPr>
          <a:xfrm>
            <a:off x="381000" y="628649"/>
            <a:ext cx="7194149" cy="206538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212816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D911DA1-5974-F66C-FBCE-2150A702F441}"/>
              </a:ext>
            </a:extLst>
          </p:cNvPr>
          <p:cNvSpPr>
            <a:spLocks noGrp="1"/>
          </p:cNvSpPr>
          <p:nvPr>
            <p:ph type="body" sz="quarter" idx="10"/>
          </p:nvPr>
        </p:nvSpPr>
        <p:spPr>
          <a:xfrm>
            <a:off x="301650" y="2692912"/>
            <a:ext cx="3200400" cy="854075"/>
          </a:xfrm>
        </p:spPr>
        <p:txBody>
          <a:bodyPr/>
          <a:lstStyle/>
          <a:p>
            <a:r>
              <a:rPr lang="en-US" sz="2800" dirty="0"/>
              <a:t>LAWYERS DISCIPLINED FOR CHATGPT USE</a:t>
            </a:r>
          </a:p>
        </p:txBody>
      </p:sp>
      <p:sp>
        <p:nvSpPr>
          <p:cNvPr id="4" name="Text Placeholder 3">
            <a:extLst>
              <a:ext uri="{FF2B5EF4-FFF2-40B4-BE49-F238E27FC236}">
                <a16:creationId xmlns:a16="http://schemas.microsoft.com/office/drawing/2014/main" id="{22524CF8-D2F3-3EA6-6C2C-21AB2292D5DB}"/>
              </a:ext>
            </a:extLst>
          </p:cNvPr>
          <p:cNvSpPr>
            <a:spLocks noGrp="1"/>
          </p:cNvSpPr>
          <p:nvPr>
            <p:ph type="body" sz="quarter" idx="61"/>
          </p:nvPr>
        </p:nvSpPr>
        <p:spPr>
          <a:xfrm>
            <a:off x="4495800" y="628650"/>
            <a:ext cx="7315200" cy="5486400"/>
          </a:xfrm>
        </p:spPr>
        <p:txBody>
          <a:bodyPr anchor="b">
            <a:normAutofit/>
          </a:bodyPr>
          <a:lstStyle/>
          <a:p>
            <a:r>
              <a:rPr lang="en-US" sz="1600" dirty="0"/>
              <a:t>A federal judge ordered two attorneys to pay $5,000 fines after they submitted legal briefs using bogus case citations invented by the AI chatbot ChatGPT.</a:t>
            </a:r>
          </a:p>
          <a:p>
            <a:r>
              <a:rPr lang="en-US" sz="1600" dirty="0"/>
              <a:t> The judge called the briefing “legal gibberish,” generated by ChatGPT.</a:t>
            </a:r>
          </a:p>
          <a:p>
            <a:r>
              <a:rPr lang="en-US" sz="1600" dirty="0"/>
              <a:t>“In researching and drafting court submissions, good lawyers appropriately obtain assistance from junior lawyers, law students, contract lawyers, legal encyclopedias, and databases such as Westlaw and LexisNexis,” Castel wrote in his order. “Technological advances are commonplace and there is nothing inherently improper about using a reliable artificial intelligence tool for assistance…But existing rules impose a gatekeeping role on attorneys to ensure the accuracy of their filings.”</a:t>
            </a:r>
          </a:p>
          <a:p>
            <a:r>
              <a:rPr lang="en-US" sz="1600" dirty="0"/>
              <a:t>The attorneys admitted to not understanding how ChatGPT worked.</a:t>
            </a:r>
          </a:p>
        </p:txBody>
      </p:sp>
      <p:pic>
        <p:nvPicPr>
          <p:cNvPr id="5" name="Picture 4">
            <a:extLst>
              <a:ext uri="{FF2B5EF4-FFF2-40B4-BE49-F238E27FC236}">
                <a16:creationId xmlns:a16="http://schemas.microsoft.com/office/drawing/2014/main" id="{BD96F5C6-623B-49CC-46DD-1B4873622369}"/>
              </a:ext>
            </a:extLst>
          </p:cNvPr>
          <p:cNvPicPr>
            <a:picLocks noChangeAspect="1"/>
          </p:cNvPicPr>
          <p:nvPr/>
        </p:nvPicPr>
        <p:blipFill>
          <a:blip r:embed="rId3"/>
          <a:stretch>
            <a:fillRect/>
          </a:stretch>
        </p:blipFill>
        <p:spPr>
          <a:xfrm>
            <a:off x="4505632" y="628650"/>
            <a:ext cx="7049192" cy="187857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437968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7FEE3E7-A81A-431C-B227-86207E787584}"/>
              </a:ext>
            </a:extLst>
          </p:cNvPr>
          <p:cNvSpPr>
            <a:spLocks noGrp="1"/>
          </p:cNvSpPr>
          <p:nvPr>
            <p:ph type="body" sz="quarter" idx="12"/>
          </p:nvPr>
        </p:nvSpPr>
        <p:spPr>
          <a:xfrm>
            <a:off x="276354" y="1519238"/>
            <a:ext cx="11430000" cy="1828800"/>
          </a:xfrm>
        </p:spPr>
        <p:txBody>
          <a:bodyPr anchor="b">
            <a:normAutofit/>
          </a:bodyPr>
          <a:lstStyle/>
          <a:p>
            <a:r>
              <a:rPr lang="en-US" dirty="0"/>
              <a:t>ABOUT US</a:t>
            </a:r>
          </a:p>
        </p:txBody>
      </p:sp>
    </p:spTree>
    <p:extLst>
      <p:ext uri="{BB962C8B-B14F-4D97-AF65-F5344CB8AC3E}">
        <p14:creationId xmlns:p14="http://schemas.microsoft.com/office/powerpoint/2010/main" val="2909043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89C37E68-B203-AB16-2832-8BA20A12EBE6}"/>
              </a:ext>
            </a:extLst>
          </p:cNvPr>
          <p:cNvPicPr>
            <a:picLocks noGrp="1" noChangeAspect="1"/>
          </p:cNvPicPr>
          <p:nvPr>
            <p:ph type="pic" sz="quarter" idx="10"/>
          </p:nvPr>
        </p:nvPicPr>
        <p:blipFill rotWithShape="1">
          <a:blip r:embed="rId3"/>
          <a:srcRect t="32838" b="33828"/>
          <a:stretch/>
        </p:blipFill>
        <p:spPr>
          <a:xfrm>
            <a:off x="0" y="0"/>
            <a:ext cx="12192000" cy="2286000"/>
          </a:xfrm>
        </p:spPr>
      </p:pic>
      <p:sp>
        <p:nvSpPr>
          <p:cNvPr id="3" name="Text Placeholder 2">
            <a:extLst>
              <a:ext uri="{FF2B5EF4-FFF2-40B4-BE49-F238E27FC236}">
                <a16:creationId xmlns:a16="http://schemas.microsoft.com/office/drawing/2014/main" id="{A5883F9E-B468-7F5D-0AFC-13D66DAFD42B}"/>
              </a:ext>
            </a:extLst>
          </p:cNvPr>
          <p:cNvSpPr>
            <a:spLocks noGrp="1"/>
          </p:cNvSpPr>
          <p:nvPr>
            <p:ph type="body" sz="quarter" idx="15"/>
          </p:nvPr>
        </p:nvSpPr>
        <p:spPr>
          <a:xfrm>
            <a:off x="390331" y="478997"/>
            <a:ext cx="8679241" cy="502920"/>
          </a:xfrm>
        </p:spPr>
        <p:txBody>
          <a:bodyPr/>
          <a:lstStyle/>
          <a:p>
            <a:r>
              <a:rPr lang="en-US" dirty="0"/>
              <a:t>BAKER DONELSON’S DATA PROTECTION, </a:t>
            </a:r>
            <a:br>
              <a:rPr lang="en-US" dirty="0"/>
            </a:br>
            <a:r>
              <a:rPr lang="en-US" dirty="0"/>
              <a:t>PRIVACY, AND CYBERSECURITY TEAM</a:t>
            </a:r>
          </a:p>
        </p:txBody>
      </p:sp>
      <p:sp>
        <p:nvSpPr>
          <p:cNvPr id="12" name="Text Placeholder 11">
            <a:extLst>
              <a:ext uri="{FF2B5EF4-FFF2-40B4-BE49-F238E27FC236}">
                <a16:creationId xmlns:a16="http://schemas.microsoft.com/office/drawing/2014/main" id="{43C33C6B-19D9-764A-7580-2B157D9E0881}"/>
              </a:ext>
            </a:extLst>
          </p:cNvPr>
          <p:cNvSpPr>
            <a:spLocks noGrp="1"/>
          </p:cNvSpPr>
          <p:nvPr>
            <p:ph type="body" sz="quarter" idx="16"/>
          </p:nvPr>
        </p:nvSpPr>
        <p:spPr>
          <a:xfrm>
            <a:off x="390331" y="1712695"/>
            <a:ext cx="6626289" cy="274320"/>
          </a:xfrm>
        </p:spPr>
        <p:txBody>
          <a:bodyPr/>
          <a:lstStyle/>
          <a:p>
            <a:r>
              <a:rPr lang="en-US" sz="1400" spc="300" dirty="0">
                <a:ea typeface="Open Sans Light" panose="020B0306030504020204" pitchFamily="34" charset="0"/>
                <a:cs typeface="Open Sans Light" panose="020B0306030504020204" pitchFamily="34" charset="0"/>
              </a:rPr>
              <a:t>WHAT WE DO</a:t>
            </a:r>
          </a:p>
        </p:txBody>
      </p:sp>
      <p:cxnSp>
        <p:nvCxnSpPr>
          <p:cNvPr id="13" name="Straight Connector 12">
            <a:extLst>
              <a:ext uri="{FF2B5EF4-FFF2-40B4-BE49-F238E27FC236}">
                <a16:creationId xmlns:a16="http://schemas.microsoft.com/office/drawing/2014/main" id="{3684E9DD-97BB-0F98-863C-2CBE338245CF}"/>
              </a:ext>
            </a:extLst>
          </p:cNvPr>
          <p:cNvCxnSpPr/>
          <p:nvPr/>
        </p:nvCxnSpPr>
        <p:spPr>
          <a:xfrm>
            <a:off x="520761" y="1483893"/>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8BF5029-75A5-B666-8653-3A188F76FBA9}"/>
              </a:ext>
            </a:extLst>
          </p:cNvPr>
          <p:cNvSpPr txBox="1"/>
          <p:nvPr/>
        </p:nvSpPr>
        <p:spPr>
          <a:xfrm>
            <a:off x="207586" y="3543689"/>
            <a:ext cx="192024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Open Sans"/>
                <a:ea typeface="+mn-ea"/>
                <a:cs typeface="+mn-cs"/>
              </a:rPr>
              <a:t>Data Privacy Compliance</a:t>
            </a:r>
          </a:p>
        </p:txBody>
      </p:sp>
      <p:sp>
        <p:nvSpPr>
          <p:cNvPr id="15" name="TextBox 14">
            <a:extLst>
              <a:ext uri="{FF2B5EF4-FFF2-40B4-BE49-F238E27FC236}">
                <a16:creationId xmlns:a16="http://schemas.microsoft.com/office/drawing/2014/main" id="{347E5D7F-DF5E-AA4F-8586-BA8DB10BFC57}"/>
              </a:ext>
            </a:extLst>
          </p:cNvPr>
          <p:cNvSpPr txBox="1"/>
          <p:nvPr/>
        </p:nvSpPr>
        <p:spPr>
          <a:xfrm>
            <a:off x="2194444" y="3543689"/>
            <a:ext cx="1736455"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Open Sans"/>
                <a:ea typeface="+mn-ea"/>
                <a:cs typeface="+mn-cs"/>
              </a:rPr>
              <a:t>Cybersecurity Readiness</a:t>
            </a:r>
          </a:p>
        </p:txBody>
      </p:sp>
      <p:sp>
        <p:nvSpPr>
          <p:cNvPr id="16" name="TextBox 15">
            <a:extLst>
              <a:ext uri="{FF2B5EF4-FFF2-40B4-BE49-F238E27FC236}">
                <a16:creationId xmlns:a16="http://schemas.microsoft.com/office/drawing/2014/main" id="{9D400788-7317-B47B-D597-2A3B64DA02EC}"/>
              </a:ext>
            </a:extLst>
          </p:cNvPr>
          <p:cNvSpPr txBox="1"/>
          <p:nvPr/>
        </p:nvSpPr>
        <p:spPr>
          <a:xfrm>
            <a:off x="4003916" y="3543689"/>
            <a:ext cx="192024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Open Sans"/>
                <a:ea typeface="+mn-ea"/>
                <a:cs typeface="+mn-cs"/>
              </a:rPr>
              <a:t>Tabletop Exercises &amp; Breach Simulations</a:t>
            </a:r>
          </a:p>
        </p:txBody>
      </p:sp>
      <p:sp>
        <p:nvSpPr>
          <p:cNvPr id="17" name="TextBox 16">
            <a:extLst>
              <a:ext uri="{FF2B5EF4-FFF2-40B4-BE49-F238E27FC236}">
                <a16:creationId xmlns:a16="http://schemas.microsoft.com/office/drawing/2014/main" id="{7F45523A-DD59-8501-C148-C4026390627A}"/>
              </a:ext>
            </a:extLst>
          </p:cNvPr>
          <p:cNvSpPr txBox="1"/>
          <p:nvPr/>
        </p:nvSpPr>
        <p:spPr>
          <a:xfrm>
            <a:off x="210334" y="5149258"/>
            <a:ext cx="192024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Open Sans"/>
                <a:ea typeface="+mn-ea"/>
                <a:cs typeface="+mn-cs"/>
              </a:rPr>
              <a:t>Data Incident and Breach Response</a:t>
            </a:r>
          </a:p>
        </p:txBody>
      </p:sp>
      <p:pic>
        <p:nvPicPr>
          <p:cNvPr id="18" name="Graphic 17">
            <a:extLst>
              <a:ext uri="{FF2B5EF4-FFF2-40B4-BE49-F238E27FC236}">
                <a16:creationId xmlns:a16="http://schemas.microsoft.com/office/drawing/2014/main" id="{6664A56F-98B2-F5E2-378E-2E626E9A64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33170" y="2948214"/>
            <a:ext cx="659005" cy="572768"/>
          </a:xfrm>
          <a:prstGeom prst="rect">
            <a:avLst/>
          </a:prstGeom>
        </p:spPr>
      </p:pic>
      <p:pic>
        <p:nvPicPr>
          <p:cNvPr id="19" name="Graphic 18">
            <a:extLst>
              <a:ext uri="{FF2B5EF4-FFF2-40B4-BE49-F238E27FC236}">
                <a16:creationId xmlns:a16="http://schemas.microsoft.com/office/drawing/2014/main" id="{6BDC5C63-32DF-F2CD-BEB7-7CB22748AB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8159" y="2921887"/>
            <a:ext cx="599095" cy="599095"/>
          </a:xfrm>
          <a:prstGeom prst="rect">
            <a:avLst/>
          </a:prstGeom>
        </p:spPr>
      </p:pic>
      <p:sp>
        <p:nvSpPr>
          <p:cNvPr id="20" name="TextBox 19">
            <a:extLst>
              <a:ext uri="{FF2B5EF4-FFF2-40B4-BE49-F238E27FC236}">
                <a16:creationId xmlns:a16="http://schemas.microsoft.com/office/drawing/2014/main" id="{F4BCD0BE-C243-A947-452A-2C2F164244FD}"/>
              </a:ext>
            </a:extLst>
          </p:cNvPr>
          <p:cNvSpPr txBox="1"/>
          <p:nvPr/>
        </p:nvSpPr>
        <p:spPr>
          <a:xfrm>
            <a:off x="2102553" y="5149258"/>
            <a:ext cx="1920240" cy="73866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Open Sans"/>
                <a:ea typeface="+mn-ea"/>
                <a:cs typeface="+mn-cs"/>
              </a:rPr>
              <a:t>Regulatory Enforcement and Litigation</a:t>
            </a:r>
          </a:p>
        </p:txBody>
      </p:sp>
      <p:sp>
        <p:nvSpPr>
          <p:cNvPr id="21" name="TextBox 20">
            <a:extLst>
              <a:ext uri="{FF2B5EF4-FFF2-40B4-BE49-F238E27FC236}">
                <a16:creationId xmlns:a16="http://schemas.microsoft.com/office/drawing/2014/main" id="{6D6DD2CA-D9EA-5433-EBE8-3CACDDCE2584}"/>
              </a:ext>
            </a:extLst>
          </p:cNvPr>
          <p:cNvSpPr txBox="1"/>
          <p:nvPr/>
        </p:nvSpPr>
        <p:spPr>
          <a:xfrm>
            <a:off x="3994772" y="5149258"/>
            <a:ext cx="1920240" cy="73866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Open Sans"/>
                <a:ea typeface="+mn-ea"/>
                <a:cs typeface="+mn-cs"/>
              </a:rPr>
              <a:t>Artificial Intelligence &amp; Emerging Technologies</a:t>
            </a:r>
          </a:p>
        </p:txBody>
      </p:sp>
      <p:sp>
        <p:nvSpPr>
          <p:cNvPr id="22" name="Rectangle 21">
            <a:extLst>
              <a:ext uri="{FF2B5EF4-FFF2-40B4-BE49-F238E27FC236}">
                <a16:creationId xmlns:a16="http://schemas.microsoft.com/office/drawing/2014/main" id="{CC704C84-3CB7-E485-BABE-AFEC40E25C96}"/>
              </a:ext>
            </a:extLst>
          </p:cNvPr>
          <p:cNvSpPr/>
          <p:nvPr/>
        </p:nvSpPr>
        <p:spPr>
          <a:xfrm>
            <a:off x="6267845" y="2635366"/>
            <a:ext cx="5705475" cy="3657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6983"/>
                </a:solidFill>
                <a:effectLst/>
                <a:uLnTx/>
                <a:uFillTx/>
                <a:latin typeface="Open Sans"/>
                <a:ea typeface="Times New Roman" panose="02020603050405020304" pitchFamily="18" charset="0"/>
                <a:cs typeface="+mn-cs"/>
              </a:rPr>
              <a:t>Overview of Proactive Services</a:t>
            </a:r>
            <a:endParaRPr kumimoji="0" lang="en-US" sz="1600" b="1" i="0" u="none" strike="noStrike" kern="1200" cap="none" spc="0" normalizeH="0" baseline="0" noProof="0" dirty="0">
              <a:ln>
                <a:noFill/>
              </a:ln>
              <a:solidFill>
                <a:srgbClr val="006983"/>
              </a:solidFill>
              <a:effectLst/>
              <a:uLnTx/>
              <a:uFillTx/>
              <a:latin typeface="Open Sans"/>
              <a:ea typeface="+mn-ea"/>
              <a:cs typeface="+mn-cs"/>
            </a:endParaRPr>
          </a:p>
        </p:txBody>
      </p:sp>
      <p:sp>
        <p:nvSpPr>
          <p:cNvPr id="23" name="TextBox 22">
            <a:extLst>
              <a:ext uri="{FF2B5EF4-FFF2-40B4-BE49-F238E27FC236}">
                <a16:creationId xmlns:a16="http://schemas.microsoft.com/office/drawing/2014/main" id="{62D08FDA-D0AF-AE9F-49D0-E6AF10F6BE12}"/>
              </a:ext>
            </a:extLst>
          </p:cNvPr>
          <p:cNvSpPr txBox="1"/>
          <p:nvPr/>
        </p:nvSpPr>
        <p:spPr>
          <a:xfrm>
            <a:off x="6677420" y="3032630"/>
            <a:ext cx="2713490" cy="3231654"/>
          </a:xfrm>
          <a:prstGeom prst="rect">
            <a:avLst/>
          </a:prstGeom>
          <a:noFill/>
        </p:spPr>
        <p:txBody>
          <a:bodyPr wrap="square" lIns="182880" rtlCol="0">
            <a:spAutoFit/>
          </a:bodyPr>
          <a:lstStyle/>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Data privacy and information security compliance plans</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Website privacy policies and terms of use</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Incident response planning</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Tabletop exercises</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Board level and c-suite training and guidance</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Business continuity and disaster recovery plans</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International data transfer &amp; data protection agreements</a:t>
            </a:r>
          </a:p>
        </p:txBody>
      </p:sp>
      <p:sp>
        <p:nvSpPr>
          <p:cNvPr id="24" name="TextBox 23">
            <a:extLst>
              <a:ext uri="{FF2B5EF4-FFF2-40B4-BE49-F238E27FC236}">
                <a16:creationId xmlns:a16="http://schemas.microsoft.com/office/drawing/2014/main" id="{B31CD9B9-A5AC-44F0-0479-68EC2A1E2F81}"/>
              </a:ext>
            </a:extLst>
          </p:cNvPr>
          <p:cNvSpPr txBox="1"/>
          <p:nvPr/>
        </p:nvSpPr>
        <p:spPr>
          <a:xfrm>
            <a:off x="9390910" y="3032630"/>
            <a:ext cx="2552700" cy="3046988"/>
          </a:xfrm>
          <a:prstGeom prst="rect">
            <a:avLst/>
          </a:prstGeom>
          <a:noFill/>
        </p:spPr>
        <p:txBody>
          <a:bodyPr wrap="square" lIns="182880" rtlCol="0">
            <a:spAutoFit/>
          </a:bodyPr>
          <a:lstStyle/>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Document retention and destruction plans</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Due diligence review for mergers and acquisitions</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Cyber coverage analysis </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Vendor agreement preparation and review</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Crisis Communications</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Employee training</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Employment and social media considerations</a:t>
            </a:r>
          </a:p>
        </p:txBody>
      </p:sp>
      <p:pic>
        <p:nvPicPr>
          <p:cNvPr id="25" name="Graphic 24" descr="Robot outline">
            <a:extLst>
              <a:ext uri="{FF2B5EF4-FFF2-40B4-BE49-F238E27FC236}">
                <a16:creationId xmlns:a16="http://schemas.microsoft.com/office/drawing/2014/main" id="{CD240FCA-A248-0E95-BEBA-3AB6E887AD6A}"/>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627965" y="4465919"/>
            <a:ext cx="653855" cy="653855"/>
          </a:xfrm>
          <a:prstGeom prst="rect">
            <a:avLst/>
          </a:prstGeom>
        </p:spPr>
      </p:pic>
      <p:pic>
        <p:nvPicPr>
          <p:cNvPr id="26" name="Graphic 25">
            <a:extLst>
              <a:ext uri="{FF2B5EF4-FFF2-40B4-BE49-F238E27FC236}">
                <a16:creationId xmlns:a16="http://schemas.microsoft.com/office/drawing/2014/main" id="{F5A70BB4-2657-9674-E09E-282D30DC5E3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42633" y="4488520"/>
            <a:ext cx="640080" cy="633829"/>
          </a:xfrm>
          <a:prstGeom prst="rect">
            <a:avLst/>
          </a:prstGeom>
        </p:spPr>
      </p:pic>
      <p:pic>
        <p:nvPicPr>
          <p:cNvPr id="27" name="Graphic 26">
            <a:extLst>
              <a:ext uri="{FF2B5EF4-FFF2-40B4-BE49-F238E27FC236}">
                <a16:creationId xmlns:a16="http://schemas.microsoft.com/office/drawing/2014/main" id="{C266118A-1B78-C156-5A1E-F12F7C380D4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674434" y="2861977"/>
            <a:ext cx="579205" cy="659005"/>
          </a:xfrm>
          <a:prstGeom prst="rect">
            <a:avLst/>
          </a:prstGeom>
        </p:spPr>
      </p:pic>
      <p:pic>
        <p:nvPicPr>
          <p:cNvPr id="28" name="Graphic 27">
            <a:extLst>
              <a:ext uri="{FF2B5EF4-FFF2-40B4-BE49-F238E27FC236}">
                <a16:creationId xmlns:a16="http://schemas.microsoft.com/office/drawing/2014/main" id="{DCDA7B94-F774-1D22-EC84-9D768EB4FDF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41596" y="4463344"/>
            <a:ext cx="657717" cy="659005"/>
          </a:xfrm>
          <a:prstGeom prst="rect">
            <a:avLst/>
          </a:prstGeom>
        </p:spPr>
      </p:pic>
    </p:spTree>
    <p:extLst>
      <p:ext uri="{BB962C8B-B14F-4D97-AF65-F5344CB8AC3E}">
        <p14:creationId xmlns:p14="http://schemas.microsoft.com/office/powerpoint/2010/main" val="23847524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icture containing screenshot, text, multimedia, electronic device&#10;&#10;Description automatically generated">
            <a:extLst>
              <a:ext uri="{FF2B5EF4-FFF2-40B4-BE49-F238E27FC236}">
                <a16:creationId xmlns:a16="http://schemas.microsoft.com/office/drawing/2014/main" id="{6D5DAB22-7FD3-28D0-B271-6F43036CD9DD}"/>
              </a:ext>
            </a:extLst>
          </p:cNvPr>
          <p:cNvPicPr>
            <a:picLocks noGrp="1" noChangeAspect="1"/>
          </p:cNvPicPr>
          <p:nvPr>
            <p:ph type="pic" sz="quarter" idx="60"/>
          </p:nvPr>
        </p:nvPicPr>
        <p:blipFill>
          <a:blip r:embed="rId3"/>
          <a:srcRect/>
          <a:stretch>
            <a:fillRect/>
          </a:stretch>
        </p:blipFill>
        <p:spPr/>
      </p:pic>
      <p:sp>
        <p:nvSpPr>
          <p:cNvPr id="4" name="Rectangle 3">
            <a:extLst>
              <a:ext uri="{FF2B5EF4-FFF2-40B4-BE49-F238E27FC236}">
                <a16:creationId xmlns:a16="http://schemas.microsoft.com/office/drawing/2014/main" id="{0DA91E0D-1F91-5114-3E0B-EFAD47576145}"/>
              </a:ext>
            </a:extLst>
          </p:cNvPr>
          <p:cNvSpPr/>
          <p:nvPr/>
        </p:nvSpPr>
        <p:spPr>
          <a:xfrm>
            <a:off x="7162800" y="1"/>
            <a:ext cx="5029200"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50" b="1" i="0" u="none" strike="noStrike" kern="1200" cap="none" spc="0" normalizeH="0" baseline="0" noProof="0" dirty="0">
              <a:ln>
                <a:noFill/>
              </a:ln>
              <a:solidFill>
                <a:srgbClr val="FFFFFF"/>
              </a:solidFill>
              <a:effectLst/>
              <a:uLnTx/>
              <a:uFillTx/>
              <a:latin typeface="Open Sans Semibold" charset="0"/>
              <a:ea typeface="+mn-ea"/>
              <a:cs typeface="+mn-cs"/>
            </a:endParaRPr>
          </a:p>
        </p:txBody>
      </p:sp>
      <p:sp>
        <p:nvSpPr>
          <p:cNvPr id="10" name="TextBox 9">
            <a:extLst>
              <a:ext uri="{FF2B5EF4-FFF2-40B4-BE49-F238E27FC236}">
                <a16:creationId xmlns:a16="http://schemas.microsoft.com/office/drawing/2014/main" id="{80FC1628-2A0E-5576-F7EC-3B35F4C52373}"/>
              </a:ext>
            </a:extLst>
          </p:cNvPr>
          <p:cNvSpPr txBox="1"/>
          <p:nvPr/>
        </p:nvSpPr>
        <p:spPr>
          <a:xfrm>
            <a:off x="471140" y="399587"/>
            <a:ext cx="6094140" cy="5478423"/>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Matt White is co-chair of the Firm's Financial Services Cybersecurity and Data Privacy Team, and a member of the firm’s Incident Response Team, which has been named an Authorized Breach Coach® by NetDiligence.  He regularly advises clients on a wide range of cybersecurity and data privacy matters, including compliance, policies and procedures, training, incident response, regulatory investigations, and litigation.</a:t>
            </a:r>
            <a:endParaRPr kumimoji="0" lang="en-US" sz="1600" b="0" i="0" u="none" strike="noStrike" kern="1200" cap="none" spc="0" normalizeH="0" baseline="0" noProof="0" dirty="0">
              <a:ln>
                <a:noFill/>
              </a:ln>
              <a:solidFill>
                <a:srgbClr val="666666"/>
              </a:solidFill>
              <a:effectLst/>
              <a:uLnTx/>
              <a:uFillTx/>
              <a:latin typeface="Times New Roman" panose="02020603050405020304" pitchFamily="18" charset="0"/>
              <a:ea typeface="Calibri" panose="020F0502020204030204" pitchFamily="34" charset="0"/>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a:t>
            </a:r>
            <a:endParaRPr kumimoji="0" lang="en-US" sz="1600" b="0" i="0" u="none" strike="noStrike" kern="1200" cap="none" spc="0" normalizeH="0" baseline="0" noProof="0" dirty="0">
              <a:ln>
                <a:noFill/>
              </a:ln>
              <a:solidFill>
                <a:srgbClr val="666666"/>
              </a:solidFill>
              <a:effectLst/>
              <a:uLnTx/>
              <a:uFillTx/>
              <a:latin typeface="Times New Roman" panose="02020603050405020304" pitchFamily="18" charset="0"/>
              <a:ea typeface="Calibri" panose="020F0502020204030204" pitchFamily="34" charset="0"/>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He is a Certified Information Privacy Professional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CIPP</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US,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CIPP</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E), a Certified Information Privacy Technologist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CIPT</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and a Certified Information Privacy Manager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CIPM</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Matt is also a Payment Card Industry Professional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PCIP</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His practice focuses on representing financial institutions, including banks, credit unions, lenders,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Fintechs</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insurance companies,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InsurTechs</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investment advisory firms, and broker-dealer firms, as well as other highly regulated businesses. He counsels clients on all aspects of privacy and cybersecurity, including litigation and breach response, privacy compliance, transactional diligence, and the defense of regulatory actions.  Matt particularly focuses on helping businesses implement policies, procedures, and best practices concerning data privacy and security, and assisting clients in strategically navigating through cyber incidents and litigation.</a:t>
            </a:r>
            <a:endParaRPr kumimoji="0" lang="en-US" sz="1600" b="0" i="0" u="none" strike="noStrike" kern="1200" cap="none" spc="0" normalizeH="0" baseline="0" noProof="0" dirty="0">
              <a:ln>
                <a:noFill/>
              </a:ln>
              <a:solidFill>
                <a:srgbClr val="666666"/>
              </a:solidFill>
              <a:effectLst/>
              <a:uLnTx/>
              <a:uFillTx/>
              <a:latin typeface="Times New Roman" panose="02020603050405020304" pitchFamily="18" charset="0"/>
              <a:ea typeface="Calibri" panose="020F0502020204030204" pitchFamily="34" charset="0"/>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a:t>
            </a:r>
            <a:endParaRPr kumimoji="0" lang="en-US" sz="1600" b="0" i="0" u="none" strike="noStrike" kern="1200" cap="none" spc="0" normalizeH="0" baseline="0" noProof="0" dirty="0">
              <a:ln>
                <a:noFill/>
              </a:ln>
              <a:solidFill>
                <a:srgbClr val="666666"/>
              </a:solidFill>
              <a:effectLst/>
              <a:uLnTx/>
              <a:uFillTx/>
              <a:latin typeface="Times New Roman" panose="02020603050405020304" pitchFamily="18" charset="0"/>
              <a:ea typeface="Calibri" panose="020F0502020204030204" pitchFamily="34" charset="0"/>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Matt also provides strategic advice to his clients concerning artificial intelligence (AI), blockchain technology, smart contracts, cryptocurrencies, and other digital assets including non-fungible tokens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NFTs</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He provides sophisticated and knowledgeable counsel on the novel issues clients encounter in this rapidly evolving space. </a:t>
            </a:r>
            <a:endParaRPr kumimoji="0" lang="en-US" sz="1600" b="0" i="0" u="none" strike="noStrike" kern="1200" cap="none" spc="0" normalizeH="0" baseline="0" noProof="0" dirty="0">
              <a:ln>
                <a:noFill/>
              </a:ln>
              <a:solidFill>
                <a:srgbClr val="666666"/>
              </a:solidFill>
              <a:effectLst/>
              <a:uLnTx/>
              <a:uFillTx/>
              <a:latin typeface="Times New Roman" panose="02020603050405020304" pitchFamily="18" charset="0"/>
              <a:ea typeface="Calibri" panose="020F0502020204030204" pitchFamily="34" charset="0"/>
              <a:cs typeface="+mn-cs"/>
            </a:endParaRPr>
          </a:p>
        </p:txBody>
      </p:sp>
      <p:sp>
        <p:nvSpPr>
          <p:cNvPr id="12" name="Text Placeholder 4">
            <a:extLst>
              <a:ext uri="{FF2B5EF4-FFF2-40B4-BE49-F238E27FC236}">
                <a16:creationId xmlns:a16="http://schemas.microsoft.com/office/drawing/2014/main" id="{CC088EB5-777B-958E-C5EF-AB6FDC88DC8C}"/>
              </a:ext>
            </a:extLst>
          </p:cNvPr>
          <p:cNvSpPr txBox="1">
            <a:spLocks/>
          </p:cNvSpPr>
          <p:nvPr/>
        </p:nvSpPr>
        <p:spPr>
          <a:xfrm>
            <a:off x="7892090" y="3879935"/>
            <a:ext cx="3749040" cy="867188"/>
          </a:xfrm>
          <a:prstGeom prst="rect">
            <a:avLst/>
          </a:prstGeom>
        </p:spPr>
        <p:txBody>
          <a:bodyPr anchor="b">
            <a:no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tt White, </a:t>
            </a:r>
            <a:r>
              <a:rPr kumimoji="0" lang="en-US" sz="1200" b="1" i="0" u="none" strike="noStrike" kern="1200" cap="none" spc="0" normalizeH="0" baseline="0" noProof="0" dirty="0" err="1">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IGP</a:t>
            </a:r>
            <a:r>
              <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1200" b="1" i="0" u="none" strike="noStrike" kern="1200" cap="none" spc="0" normalizeH="0" baseline="0" noProof="0" dirty="0" err="1">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IPP</a:t>
            </a:r>
            <a:r>
              <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S, CIPP/E, </a:t>
            </a:r>
            <a:r>
              <a:rPr kumimoji="0" lang="en-US" sz="1200" b="1" i="0" u="none" strike="noStrike" kern="1200" cap="none" spc="0" normalizeH="0" baseline="0" noProof="0" dirty="0" err="1">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IPT</a:t>
            </a:r>
            <a:r>
              <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1200" b="1" i="0" u="none" strike="noStrike" kern="1200" cap="none" spc="0" normalizeH="0" baseline="0" noProof="0" dirty="0" err="1">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IPM</a:t>
            </a:r>
            <a:r>
              <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1200" b="1" i="0" u="none" strike="noStrike" kern="1200" cap="none" spc="0" normalizeH="0" baseline="0" noProof="0" dirty="0" err="1">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CIP</a:t>
            </a:r>
            <a:endPar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hareholder</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emphis, TN</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901.577.8182</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4">
                  <a:extLst>
                    <a:ext uri="{A12FA001-AC4F-418D-AE19-62706E023703}">
                      <ahyp:hlinkClr xmlns:ahyp="http://schemas.microsoft.com/office/drawing/2018/hyperlinkcolor" val="tx"/>
                    </a:ext>
                  </a:extLst>
                </a:hlinkClick>
              </a:rPr>
              <a:t>mwhite@bakerdonelson.com</a:t>
            </a:r>
            <a:endParaRPr kumimoji="0" lang="en-US" sz="12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 name="Picture 1">
            <a:extLst>
              <a:ext uri="{FF2B5EF4-FFF2-40B4-BE49-F238E27FC236}">
                <a16:creationId xmlns:a16="http://schemas.microsoft.com/office/drawing/2014/main" id="{2A6D9603-3FB0-0036-4534-3250A6072F7D}"/>
              </a:ext>
            </a:extLst>
          </p:cNvPr>
          <p:cNvPicPr>
            <a:picLocks noChangeAspect="1"/>
          </p:cNvPicPr>
          <p:nvPr/>
        </p:nvPicPr>
        <p:blipFill>
          <a:blip r:embed="rId5"/>
          <a:stretch>
            <a:fillRect/>
          </a:stretch>
        </p:blipFill>
        <p:spPr>
          <a:xfrm>
            <a:off x="8660604" y="1102688"/>
            <a:ext cx="2212011" cy="2212011"/>
          </a:xfrm>
          <a:prstGeom prst="ellipse">
            <a:avLst/>
          </a:prstGeom>
        </p:spPr>
      </p:pic>
    </p:spTree>
    <p:extLst>
      <p:ext uri="{BB962C8B-B14F-4D97-AF65-F5344CB8AC3E}">
        <p14:creationId xmlns:p14="http://schemas.microsoft.com/office/powerpoint/2010/main" val="2009622143"/>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B32D1E8-8D94-4A71-837B-2EF2D0DC54ED}"/>
              </a:ext>
            </a:extLst>
          </p:cNvPr>
          <p:cNvSpPr txBox="1"/>
          <p:nvPr/>
        </p:nvSpPr>
        <p:spPr>
          <a:xfrm>
            <a:off x="1138575" y="4437370"/>
            <a:ext cx="1920240"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hlinkClick r:id="rId3">
                  <a:extLst>
                    <a:ext uri="{A12FA001-AC4F-418D-AE19-62706E023703}">
                      <ahyp:hlinkClr xmlns:ahyp="http://schemas.microsoft.com/office/drawing/2018/hyperlinkcolor" val="tx"/>
                    </a:ext>
                  </a:extLst>
                </a:hlinkClick>
              </a:rPr>
              <a:t>www.bakerdonelson.com</a:t>
            </a:r>
            <a:endPar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BE052CE7-ED0C-4183-9D38-D11AAF32C4A2}"/>
              </a:ext>
            </a:extLst>
          </p:cNvPr>
          <p:cNvSpPr txBox="1"/>
          <p:nvPr/>
        </p:nvSpPr>
        <p:spPr>
          <a:xfrm>
            <a:off x="9053254" y="4437370"/>
            <a:ext cx="1777754"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hlinkClick r:id="rId4">
                  <a:extLst>
                    <a:ext uri="{A12FA001-AC4F-418D-AE19-62706E023703}">
                      <ahyp:hlinkClr xmlns:ahyp="http://schemas.microsoft.com/office/drawing/2018/hyperlinkcolor" val="tx"/>
                    </a:ext>
                  </a:extLst>
                </a:hlinkClick>
              </a:rPr>
              <a:t>@Baker_Donelson</a:t>
            </a:r>
            <a:endPar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AA1B812D-C2B1-4F0B-8351-967925A79510}"/>
              </a:ext>
            </a:extLst>
          </p:cNvPr>
          <p:cNvSpPr txBox="1"/>
          <p:nvPr/>
        </p:nvSpPr>
        <p:spPr>
          <a:xfrm>
            <a:off x="3903458" y="4437370"/>
            <a:ext cx="1777754"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hlinkClick r:id="rId5">
                  <a:extLst>
                    <a:ext uri="{A12FA001-AC4F-418D-AE19-62706E023703}">
                      <ahyp:hlinkClr xmlns:ahyp="http://schemas.microsoft.com/office/drawing/2018/hyperlinkcolor" val="tx"/>
                    </a:ext>
                  </a:extLst>
                </a:hlinkClick>
              </a:rPr>
              <a:t>@BakerDonelson</a:t>
            </a:r>
            <a:endPar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63FF245F-9C87-4657-8045-874BB38F6FCF}"/>
              </a:ext>
            </a:extLst>
          </p:cNvPr>
          <p:cNvSpPr txBox="1"/>
          <p:nvPr/>
        </p:nvSpPr>
        <p:spPr>
          <a:xfrm>
            <a:off x="6345884" y="4437370"/>
            <a:ext cx="1777754"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hlinkClick r:id="rId6">
                  <a:extLst>
                    <a:ext uri="{A12FA001-AC4F-418D-AE19-62706E023703}">
                      <ahyp:hlinkClr xmlns:ahyp="http://schemas.microsoft.com/office/drawing/2018/hyperlinkcolor" val="tx"/>
                    </a:ext>
                  </a:extLst>
                </a:hlinkClick>
              </a:rPr>
              <a:t>@Baker-Donelson</a:t>
            </a:r>
            <a:endPar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45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8C88C0-2894-7F85-84A3-1F7F9FBDB1CC}"/>
              </a:ext>
            </a:extLst>
          </p:cNvPr>
          <p:cNvSpPr>
            <a:spLocks noGrp="1"/>
          </p:cNvSpPr>
          <p:nvPr>
            <p:ph type="body" sz="quarter" idx="15"/>
          </p:nvPr>
        </p:nvSpPr>
        <p:spPr/>
        <p:txBody>
          <a:bodyPr/>
          <a:lstStyle/>
          <a:p>
            <a:r>
              <a:rPr lang="en-US" dirty="0"/>
              <a:t>CURRENT STATE OF AI-BASED TECHNOLOGIES</a:t>
            </a:r>
          </a:p>
        </p:txBody>
      </p:sp>
      <p:sp>
        <p:nvSpPr>
          <p:cNvPr id="3" name="Text Placeholder 2">
            <a:extLst>
              <a:ext uri="{FF2B5EF4-FFF2-40B4-BE49-F238E27FC236}">
                <a16:creationId xmlns:a16="http://schemas.microsoft.com/office/drawing/2014/main" id="{897EDDE6-9D62-AC32-F467-FFA83873205D}"/>
              </a:ext>
            </a:extLst>
          </p:cNvPr>
          <p:cNvSpPr>
            <a:spLocks noGrp="1"/>
          </p:cNvSpPr>
          <p:nvPr>
            <p:ph type="body" sz="quarter" idx="16"/>
          </p:nvPr>
        </p:nvSpPr>
        <p:spPr/>
        <p:txBody>
          <a:bodyPr/>
          <a:lstStyle/>
          <a:p>
            <a:endParaRPr lang="en-US"/>
          </a:p>
        </p:txBody>
      </p:sp>
      <p:sp>
        <p:nvSpPr>
          <p:cNvPr id="4" name="Rectangle 3">
            <a:extLst>
              <a:ext uri="{FF2B5EF4-FFF2-40B4-BE49-F238E27FC236}">
                <a16:creationId xmlns:a16="http://schemas.microsoft.com/office/drawing/2014/main" id="{EFF4DA23-B933-AF94-54E6-DCB420BDFFB7}"/>
              </a:ext>
            </a:extLst>
          </p:cNvPr>
          <p:cNvSpPr/>
          <p:nvPr/>
        </p:nvSpPr>
        <p:spPr>
          <a:xfrm>
            <a:off x="2481157" y="3874491"/>
            <a:ext cx="9326879" cy="1723382"/>
          </a:xfrm>
          <a:prstGeom prst="rect">
            <a:avLst/>
          </a:prstGeom>
          <a:solidFill>
            <a:sysClr val="window" lastClr="FFFFFF"/>
          </a:solidFill>
          <a:ln w="12700" cap="flat" cmpd="sng" algn="ctr">
            <a:noFill/>
            <a:prstDash val="solid"/>
            <a:miter lim="800000"/>
          </a:ln>
          <a:effectLst/>
        </p:spPr>
        <p:txBody>
          <a:bodyPr rtlCol="0" anchor="ctr"/>
          <a:lstStyle/>
          <a:p>
            <a:pPr marL="339725" marR="0" lvl="0" indent="-339725" defTabSz="914400" fontAlgn="auto">
              <a:lnSpc>
                <a:spcPct val="90000"/>
              </a:lnSpc>
              <a:spcBef>
                <a:spcPts val="750"/>
              </a:spcBef>
              <a:spcAft>
                <a:spcPts val="0"/>
              </a:spcAft>
              <a:buClr>
                <a:schemeClr val="accent1"/>
              </a:buClr>
              <a:buSzTx/>
              <a:buFont typeface="Arial" panose="020B0604020202020204" pitchFamily="34" charset="0"/>
              <a:buChar char="•"/>
              <a:tabLst/>
              <a:defRPr/>
            </a:pPr>
            <a:r>
              <a:rPr lang="en-US" sz="2000" dirty="0">
                <a:ea typeface="Open Sans Light" panose="020B0306030504020204" pitchFamily="34" charset="0"/>
                <a:cs typeface="Open Sans Light" panose="020B0306030504020204" pitchFamily="34" charset="0"/>
              </a:rPr>
              <a:t>AI infers answers even if there isn’t one (“hallucinations”)</a:t>
            </a:r>
          </a:p>
          <a:p>
            <a:pPr marL="339725" marR="0" lvl="0" indent="-339725" defTabSz="914400" fontAlgn="auto">
              <a:lnSpc>
                <a:spcPct val="90000"/>
              </a:lnSpc>
              <a:spcBef>
                <a:spcPts val="750"/>
              </a:spcBef>
              <a:spcAft>
                <a:spcPts val="0"/>
              </a:spcAft>
              <a:buClr>
                <a:schemeClr val="accent1"/>
              </a:buClr>
              <a:buSzTx/>
              <a:buFont typeface="Arial" panose="020B0604020202020204" pitchFamily="34" charset="0"/>
              <a:buChar char="•"/>
              <a:tabLst/>
              <a:defRPr/>
            </a:pPr>
            <a:r>
              <a:rPr lang="en-US" sz="2000" dirty="0">
                <a:ea typeface="Open Sans Light" panose="020B0306030504020204" pitchFamily="34" charset="0"/>
                <a:cs typeface="Open Sans Light" panose="020B0306030504020204" pitchFamily="34" charset="0"/>
              </a:rPr>
              <a:t>It is only as good as the data to which it is exposed</a:t>
            </a:r>
          </a:p>
          <a:p>
            <a:pPr marL="339725" marR="0" lvl="0" indent="-339725" defTabSz="914400" fontAlgn="auto">
              <a:lnSpc>
                <a:spcPct val="90000"/>
              </a:lnSpc>
              <a:spcBef>
                <a:spcPts val="750"/>
              </a:spcBef>
              <a:spcAft>
                <a:spcPts val="0"/>
              </a:spcAft>
              <a:buClr>
                <a:schemeClr val="accent1"/>
              </a:buClr>
              <a:buSzTx/>
              <a:buFont typeface="Arial" panose="020B0604020202020204" pitchFamily="34" charset="0"/>
              <a:buChar char="•"/>
              <a:tabLst/>
              <a:defRPr/>
            </a:pPr>
            <a:r>
              <a:rPr lang="en-US" sz="2000" dirty="0">
                <a:ea typeface="Open Sans Light" panose="020B0306030504020204" pitchFamily="34" charset="0"/>
                <a:cs typeface="Open Sans Light" panose="020B0306030504020204" pitchFamily="34" charset="0"/>
              </a:rPr>
              <a:t>Industry standards are still evolving</a:t>
            </a:r>
          </a:p>
          <a:p>
            <a:pPr marL="339725" marR="0" lvl="0" indent="-339725" defTabSz="914400" fontAlgn="auto">
              <a:lnSpc>
                <a:spcPct val="90000"/>
              </a:lnSpc>
              <a:spcBef>
                <a:spcPts val="750"/>
              </a:spcBef>
              <a:spcAft>
                <a:spcPts val="0"/>
              </a:spcAft>
              <a:buClr>
                <a:schemeClr val="accent1"/>
              </a:buClr>
              <a:buSzTx/>
              <a:buFont typeface="Arial" panose="020B0604020202020204" pitchFamily="34" charset="0"/>
              <a:buChar char="•"/>
              <a:tabLst/>
              <a:defRPr/>
            </a:pPr>
            <a:r>
              <a:rPr lang="en-US" sz="2000" dirty="0">
                <a:ea typeface="Open Sans Light" panose="020B0306030504020204" pitchFamily="34" charset="0"/>
                <a:cs typeface="Open Sans Light" panose="020B0306030504020204" pitchFamily="34" charset="0"/>
              </a:rPr>
              <a:t>Lack of emotions, morals, and ethics</a:t>
            </a:r>
          </a:p>
        </p:txBody>
      </p:sp>
      <p:sp>
        <p:nvSpPr>
          <p:cNvPr id="5" name="Rectangle 4">
            <a:extLst>
              <a:ext uri="{FF2B5EF4-FFF2-40B4-BE49-F238E27FC236}">
                <a16:creationId xmlns:a16="http://schemas.microsoft.com/office/drawing/2014/main" id="{8597A75D-0944-D7F1-DBE1-B0754F51CCA1}"/>
              </a:ext>
            </a:extLst>
          </p:cNvPr>
          <p:cNvSpPr/>
          <p:nvPr/>
        </p:nvSpPr>
        <p:spPr>
          <a:xfrm>
            <a:off x="390331" y="1600200"/>
            <a:ext cx="1828800" cy="1828800"/>
          </a:xfrm>
          <a:prstGeom prst="rect">
            <a:avLst/>
          </a:prstGeom>
          <a:solidFill>
            <a:schemeClr val="accent3"/>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800" b="1" i="0" u="none" strike="noStrike" kern="0" cap="none" spc="0" normalizeH="0" baseline="0" noProof="0" dirty="0">
                <a:ln>
                  <a:noFill/>
                </a:ln>
                <a:solidFill>
                  <a:prstClr val="white"/>
                </a:solidFill>
                <a:effectLst/>
                <a:uLnTx/>
                <a:uFillTx/>
                <a:ea typeface="+mn-ea"/>
                <a:cs typeface="+mn-cs"/>
              </a:rPr>
              <a:t>Positive Implications</a:t>
            </a:r>
          </a:p>
        </p:txBody>
      </p:sp>
      <p:sp>
        <p:nvSpPr>
          <p:cNvPr id="6" name="Rectangle 5">
            <a:extLst>
              <a:ext uri="{FF2B5EF4-FFF2-40B4-BE49-F238E27FC236}">
                <a16:creationId xmlns:a16="http://schemas.microsoft.com/office/drawing/2014/main" id="{CDA07E36-B993-34BF-88EA-67D65FB0C2F5}"/>
              </a:ext>
            </a:extLst>
          </p:cNvPr>
          <p:cNvSpPr/>
          <p:nvPr/>
        </p:nvSpPr>
        <p:spPr>
          <a:xfrm>
            <a:off x="390331" y="3821782"/>
            <a:ext cx="1828800" cy="1828800"/>
          </a:xfrm>
          <a:prstGeom prst="rect">
            <a:avLst/>
          </a:prstGeom>
          <a:solidFill>
            <a:schemeClr val="accent1"/>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AU" sz="1800" b="1" i="0" u="none" strike="noStrike" kern="0" cap="none" spc="0" normalizeH="0" baseline="0" noProof="0" dirty="0">
                <a:ln>
                  <a:noFill/>
                </a:ln>
                <a:solidFill>
                  <a:prstClr val="white"/>
                </a:solidFill>
                <a:effectLst/>
                <a:uLnTx/>
                <a:uFillTx/>
                <a:ea typeface="+mn-ea"/>
                <a:cs typeface="+mn-cs"/>
              </a:rPr>
              <a:t>Negative Implications</a:t>
            </a:r>
          </a:p>
        </p:txBody>
      </p:sp>
      <p:sp>
        <p:nvSpPr>
          <p:cNvPr id="7" name="Rectangle 6">
            <a:extLst>
              <a:ext uri="{FF2B5EF4-FFF2-40B4-BE49-F238E27FC236}">
                <a16:creationId xmlns:a16="http://schemas.microsoft.com/office/drawing/2014/main" id="{B74C049F-2830-F437-F2BC-E240813B348E}"/>
              </a:ext>
            </a:extLst>
          </p:cNvPr>
          <p:cNvSpPr/>
          <p:nvPr/>
        </p:nvSpPr>
        <p:spPr>
          <a:xfrm>
            <a:off x="2481156" y="1644935"/>
            <a:ext cx="9326880" cy="1739330"/>
          </a:xfrm>
          <a:prstGeom prst="rect">
            <a:avLst/>
          </a:prstGeom>
          <a:solidFill>
            <a:sysClr val="window" lastClr="FFFFFF"/>
          </a:solidFill>
          <a:ln w="12700" cap="flat" cmpd="sng" algn="ctr">
            <a:noFill/>
            <a:prstDash val="solid"/>
            <a:miter lim="800000"/>
          </a:ln>
          <a:effectLst/>
        </p:spPr>
        <p:txBody>
          <a:bodyPr rtlCol="0" anchor="ctr"/>
          <a:lstStyle/>
          <a:p>
            <a:pPr marL="339725" marR="0" lvl="0" indent="-339725" defTabSz="914400" fontAlgn="auto">
              <a:lnSpc>
                <a:spcPct val="90000"/>
              </a:lnSpc>
              <a:spcBef>
                <a:spcPts val="0"/>
              </a:spcBef>
              <a:spcAft>
                <a:spcPts val="0"/>
              </a:spcAft>
              <a:buClr>
                <a:schemeClr val="accent1"/>
              </a:buClr>
              <a:buSzTx/>
              <a:buFont typeface="Arial" panose="020B0604020202020204" pitchFamily="34" charset="0"/>
              <a:buChar char="•"/>
              <a:tabLst/>
              <a:defRPr/>
            </a:pPr>
            <a:r>
              <a:rPr lang="en-US" sz="2000" dirty="0">
                <a:ea typeface="Open Sans Light" panose="020B0306030504020204" pitchFamily="34" charset="0"/>
                <a:cs typeface="Open Sans Light" panose="020B0306030504020204" pitchFamily="34" charset="0"/>
              </a:rPr>
              <a:t>Great at fast decision making</a:t>
            </a:r>
          </a:p>
          <a:p>
            <a:pPr marL="339725" marR="0" lvl="0" indent="-339725" defTabSz="914400" fontAlgn="auto">
              <a:lnSpc>
                <a:spcPct val="90000"/>
              </a:lnSpc>
              <a:spcBef>
                <a:spcPts val="0"/>
              </a:spcBef>
              <a:spcAft>
                <a:spcPts val="0"/>
              </a:spcAft>
              <a:buClr>
                <a:schemeClr val="accent1"/>
              </a:buClr>
              <a:buSzTx/>
              <a:buFont typeface="Arial" panose="020B0604020202020204" pitchFamily="34" charset="0"/>
              <a:buChar char="•"/>
              <a:tabLst/>
              <a:defRPr/>
            </a:pPr>
            <a:endParaRPr lang="en-US" sz="2000" dirty="0">
              <a:ea typeface="Open Sans Light" panose="020B0306030504020204" pitchFamily="34" charset="0"/>
              <a:cs typeface="Open Sans Light" panose="020B0306030504020204" pitchFamily="34" charset="0"/>
            </a:endParaRPr>
          </a:p>
          <a:p>
            <a:pPr marL="339725" marR="0" lvl="0" indent="-339725" defTabSz="914400" fontAlgn="auto">
              <a:lnSpc>
                <a:spcPct val="90000"/>
              </a:lnSpc>
              <a:spcBef>
                <a:spcPts val="0"/>
              </a:spcBef>
              <a:spcAft>
                <a:spcPts val="0"/>
              </a:spcAft>
              <a:buClr>
                <a:schemeClr val="accent1"/>
              </a:buClr>
              <a:buSzTx/>
              <a:buFont typeface="Arial" panose="020B0604020202020204" pitchFamily="34" charset="0"/>
              <a:buChar char="•"/>
              <a:tabLst/>
              <a:defRPr/>
            </a:pPr>
            <a:r>
              <a:rPr lang="en-US" sz="2000" dirty="0">
                <a:ea typeface="Open Sans Light" panose="020B0306030504020204" pitchFamily="34" charset="0"/>
                <a:cs typeface="Open Sans Light" panose="020B0306030504020204" pitchFamily="34" charset="0"/>
              </a:rPr>
              <a:t>Excels at pattern recognition</a:t>
            </a:r>
          </a:p>
          <a:p>
            <a:pPr marL="339725" marR="0" lvl="0" indent="-339725" defTabSz="914400" fontAlgn="auto">
              <a:lnSpc>
                <a:spcPct val="90000"/>
              </a:lnSpc>
              <a:spcBef>
                <a:spcPts val="0"/>
              </a:spcBef>
              <a:spcAft>
                <a:spcPts val="0"/>
              </a:spcAft>
              <a:buClr>
                <a:schemeClr val="accent1"/>
              </a:buClr>
              <a:buSzTx/>
              <a:buFont typeface="Arial" panose="020B0604020202020204" pitchFamily="34" charset="0"/>
              <a:buChar char="•"/>
              <a:tabLst/>
              <a:defRPr/>
            </a:pPr>
            <a:endParaRPr lang="en-US" sz="2000" dirty="0">
              <a:ea typeface="Open Sans Light" panose="020B0306030504020204" pitchFamily="34" charset="0"/>
              <a:cs typeface="Open Sans Light" panose="020B0306030504020204" pitchFamily="34" charset="0"/>
            </a:endParaRPr>
          </a:p>
          <a:p>
            <a:pPr marL="339725" marR="0" lvl="0" indent="-339725" defTabSz="914400" fontAlgn="auto">
              <a:lnSpc>
                <a:spcPct val="90000"/>
              </a:lnSpc>
              <a:spcBef>
                <a:spcPts val="0"/>
              </a:spcBef>
              <a:spcAft>
                <a:spcPts val="0"/>
              </a:spcAft>
              <a:buClr>
                <a:schemeClr val="accent1"/>
              </a:buClr>
              <a:buSzTx/>
              <a:buFont typeface="Arial" panose="020B0604020202020204" pitchFamily="34" charset="0"/>
              <a:buChar char="•"/>
              <a:tabLst/>
              <a:defRPr/>
            </a:pPr>
            <a:r>
              <a:rPr lang="en-US" sz="2000" dirty="0">
                <a:ea typeface="Open Sans Light" panose="020B0306030504020204" pitchFamily="34" charset="0"/>
                <a:cs typeface="Open Sans Light" panose="020B0306030504020204" pitchFamily="34" charset="0"/>
              </a:rPr>
              <a:t>Very good at extracting relevant answers from large data sets and organizing it in an understandable way</a:t>
            </a:r>
          </a:p>
        </p:txBody>
      </p:sp>
    </p:spTree>
    <p:extLst>
      <p:ext uri="{BB962C8B-B14F-4D97-AF65-F5344CB8AC3E}">
        <p14:creationId xmlns:p14="http://schemas.microsoft.com/office/powerpoint/2010/main" val="4574937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E294D8-B3A4-C82D-8AF4-4AB4B02777BA}"/>
              </a:ext>
            </a:extLst>
          </p:cNvPr>
          <p:cNvSpPr>
            <a:spLocks noGrp="1"/>
          </p:cNvSpPr>
          <p:nvPr>
            <p:ph type="body" sz="quarter" idx="15"/>
          </p:nvPr>
        </p:nvSpPr>
        <p:spPr/>
        <p:txBody>
          <a:bodyPr/>
          <a:lstStyle/>
          <a:p>
            <a:r>
              <a:rPr lang="en-US" dirty="0"/>
              <a:t>USES OF AI</a:t>
            </a:r>
          </a:p>
        </p:txBody>
      </p:sp>
      <p:sp>
        <p:nvSpPr>
          <p:cNvPr id="3" name="Text Placeholder 2">
            <a:extLst>
              <a:ext uri="{FF2B5EF4-FFF2-40B4-BE49-F238E27FC236}">
                <a16:creationId xmlns:a16="http://schemas.microsoft.com/office/drawing/2014/main" id="{8C477EB4-954D-B6C9-292A-5B60483BC3C8}"/>
              </a:ext>
            </a:extLst>
          </p:cNvPr>
          <p:cNvSpPr>
            <a:spLocks noGrp="1"/>
          </p:cNvSpPr>
          <p:nvPr>
            <p:ph type="body" sz="quarter" idx="16"/>
          </p:nvPr>
        </p:nvSpPr>
        <p:spPr/>
        <p:txBody>
          <a:bodyPr/>
          <a:lstStyle/>
          <a:p>
            <a:endParaRPr lang="en-US"/>
          </a:p>
        </p:txBody>
      </p:sp>
      <p:grpSp>
        <p:nvGrpSpPr>
          <p:cNvPr id="4" name="Group 3">
            <a:extLst>
              <a:ext uri="{FF2B5EF4-FFF2-40B4-BE49-F238E27FC236}">
                <a16:creationId xmlns:a16="http://schemas.microsoft.com/office/drawing/2014/main" id="{ADCF43EE-CB19-6A7C-71A6-CE3439D7E94A}"/>
              </a:ext>
            </a:extLst>
          </p:cNvPr>
          <p:cNvGrpSpPr/>
          <p:nvPr/>
        </p:nvGrpSpPr>
        <p:grpSpPr>
          <a:xfrm>
            <a:off x="1672438" y="1699945"/>
            <a:ext cx="8847124" cy="4365492"/>
            <a:chOff x="1409377" y="2249791"/>
            <a:chExt cx="6356492" cy="3032735"/>
          </a:xfrm>
        </p:grpSpPr>
        <p:sp>
          <p:nvSpPr>
            <p:cNvPr id="5" name="Rectangle 4">
              <a:extLst>
                <a:ext uri="{FF2B5EF4-FFF2-40B4-BE49-F238E27FC236}">
                  <a16:creationId xmlns:a16="http://schemas.microsoft.com/office/drawing/2014/main" id="{7974528D-646A-1F2C-8CA4-2415BF3614DB}"/>
                </a:ext>
              </a:extLst>
            </p:cNvPr>
            <p:cNvSpPr/>
            <p:nvPr/>
          </p:nvSpPr>
          <p:spPr>
            <a:xfrm>
              <a:off x="4200785" y="3388480"/>
              <a:ext cx="1212863" cy="67381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6" name="Rectangle 5">
              <a:extLst>
                <a:ext uri="{FF2B5EF4-FFF2-40B4-BE49-F238E27FC236}">
                  <a16:creationId xmlns:a16="http://schemas.microsoft.com/office/drawing/2014/main" id="{9BB0A532-4160-96F5-D425-F72B1C40797F}"/>
                </a:ext>
              </a:extLst>
            </p:cNvPr>
            <p:cNvSpPr/>
            <p:nvPr/>
          </p:nvSpPr>
          <p:spPr>
            <a:xfrm>
              <a:off x="3098111" y="2645344"/>
              <a:ext cx="1253292" cy="67381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7" name="Rectangle 6">
              <a:extLst>
                <a:ext uri="{FF2B5EF4-FFF2-40B4-BE49-F238E27FC236}">
                  <a16:creationId xmlns:a16="http://schemas.microsoft.com/office/drawing/2014/main" id="{B7777CAB-5931-E364-53D1-61E76C6020DD}"/>
                </a:ext>
              </a:extLst>
            </p:cNvPr>
            <p:cNvSpPr/>
            <p:nvPr/>
          </p:nvSpPr>
          <p:spPr>
            <a:xfrm>
              <a:off x="3098111" y="4123076"/>
              <a:ext cx="1253292" cy="67381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8" name="Rectangle 7">
              <a:extLst>
                <a:ext uri="{FF2B5EF4-FFF2-40B4-BE49-F238E27FC236}">
                  <a16:creationId xmlns:a16="http://schemas.microsoft.com/office/drawing/2014/main" id="{2CD8D654-7FA4-18D4-7278-6EB282656D24}"/>
                </a:ext>
              </a:extLst>
            </p:cNvPr>
            <p:cNvSpPr/>
            <p:nvPr/>
          </p:nvSpPr>
          <p:spPr>
            <a:xfrm>
              <a:off x="4752018" y="2663347"/>
              <a:ext cx="1253292" cy="67381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9" name="Rectangle 8">
              <a:extLst>
                <a:ext uri="{FF2B5EF4-FFF2-40B4-BE49-F238E27FC236}">
                  <a16:creationId xmlns:a16="http://schemas.microsoft.com/office/drawing/2014/main" id="{B6D33755-6ED3-8207-D681-BF87751ED77B}"/>
                </a:ext>
              </a:extLst>
            </p:cNvPr>
            <p:cNvSpPr/>
            <p:nvPr/>
          </p:nvSpPr>
          <p:spPr>
            <a:xfrm>
              <a:off x="4752018" y="4141078"/>
              <a:ext cx="1253292" cy="67381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0" name="Freeform: Shape 9">
              <a:extLst>
                <a:ext uri="{FF2B5EF4-FFF2-40B4-BE49-F238E27FC236}">
                  <a16:creationId xmlns:a16="http://schemas.microsoft.com/office/drawing/2014/main" id="{A4B0CAB5-CA07-8E6E-6896-7C1BB9CD405D}"/>
                </a:ext>
              </a:extLst>
            </p:cNvPr>
            <p:cNvSpPr/>
            <p:nvPr/>
          </p:nvSpPr>
          <p:spPr>
            <a:xfrm>
              <a:off x="4099586" y="2267793"/>
              <a:ext cx="977030" cy="1123022"/>
            </a:xfrm>
            <a:custGeom>
              <a:avLst/>
              <a:gdLst>
                <a:gd name="connsiteX0" fmla="*/ 0 w 1160643"/>
                <a:gd name="connsiteY0" fmla="*/ 504880 h 1009760"/>
                <a:gd name="connsiteX1" fmla="*/ 252440 w 1160643"/>
                <a:gd name="connsiteY1" fmla="*/ 0 h 1009760"/>
                <a:gd name="connsiteX2" fmla="*/ 908203 w 1160643"/>
                <a:gd name="connsiteY2" fmla="*/ 0 h 1009760"/>
                <a:gd name="connsiteX3" fmla="*/ 1160643 w 1160643"/>
                <a:gd name="connsiteY3" fmla="*/ 504880 h 1009760"/>
                <a:gd name="connsiteX4" fmla="*/ 908203 w 1160643"/>
                <a:gd name="connsiteY4" fmla="*/ 1009760 h 1009760"/>
                <a:gd name="connsiteX5" fmla="*/ 252440 w 1160643"/>
                <a:gd name="connsiteY5" fmla="*/ 1009760 h 1009760"/>
                <a:gd name="connsiteX6" fmla="*/ 0 w 1160643"/>
                <a:gd name="connsiteY6" fmla="*/ 504880 h 10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643" h="1009760">
                  <a:moveTo>
                    <a:pt x="580322" y="0"/>
                  </a:moveTo>
                  <a:lnTo>
                    <a:pt x="1160642" y="219623"/>
                  </a:lnTo>
                  <a:lnTo>
                    <a:pt x="1160642" y="790137"/>
                  </a:lnTo>
                  <a:lnTo>
                    <a:pt x="580322" y="1009760"/>
                  </a:lnTo>
                  <a:lnTo>
                    <a:pt x="1" y="790137"/>
                  </a:lnTo>
                  <a:lnTo>
                    <a:pt x="1" y="219623"/>
                  </a:lnTo>
                  <a:lnTo>
                    <a:pt x="580322" y="0"/>
                  </a:lnTo>
                  <a:close/>
                </a:path>
              </a:pathLst>
            </a:custGeom>
            <a:solidFill>
              <a:schemeClr val="accent3"/>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9243" tIns="89162" rIns="79243" bIns="89162" numCol="1" spcCol="1270" anchor="ctr" anchorCtr="0">
              <a:noAutofit/>
            </a:bodyPr>
            <a:lstStyle/>
            <a:p>
              <a:pPr algn="ctr" defTabSz="150019"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Employee Monitoring</a:t>
              </a:r>
            </a:p>
          </p:txBody>
        </p:sp>
        <p:sp>
          <p:nvSpPr>
            <p:cNvPr id="11" name="Freeform: Shape 10">
              <a:extLst>
                <a:ext uri="{FF2B5EF4-FFF2-40B4-BE49-F238E27FC236}">
                  <a16:creationId xmlns:a16="http://schemas.microsoft.com/office/drawing/2014/main" id="{3D2AF12E-6972-ADB5-A7D7-28E924A5A534}"/>
                </a:ext>
              </a:extLst>
            </p:cNvPr>
            <p:cNvSpPr/>
            <p:nvPr/>
          </p:nvSpPr>
          <p:spPr>
            <a:xfrm>
              <a:off x="4099586" y="4148743"/>
              <a:ext cx="977030" cy="1123022"/>
            </a:xfrm>
            <a:custGeom>
              <a:avLst/>
              <a:gdLst>
                <a:gd name="connsiteX0" fmla="*/ 0 w 1160643"/>
                <a:gd name="connsiteY0" fmla="*/ 504880 h 1009760"/>
                <a:gd name="connsiteX1" fmla="*/ 252440 w 1160643"/>
                <a:gd name="connsiteY1" fmla="*/ 0 h 1009760"/>
                <a:gd name="connsiteX2" fmla="*/ 908203 w 1160643"/>
                <a:gd name="connsiteY2" fmla="*/ 0 h 1009760"/>
                <a:gd name="connsiteX3" fmla="*/ 1160643 w 1160643"/>
                <a:gd name="connsiteY3" fmla="*/ 504880 h 1009760"/>
                <a:gd name="connsiteX4" fmla="*/ 908203 w 1160643"/>
                <a:gd name="connsiteY4" fmla="*/ 1009760 h 1009760"/>
                <a:gd name="connsiteX5" fmla="*/ 252440 w 1160643"/>
                <a:gd name="connsiteY5" fmla="*/ 1009760 h 1009760"/>
                <a:gd name="connsiteX6" fmla="*/ 0 w 1160643"/>
                <a:gd name="connsiteY6" fmla="*/ 504880 h 10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643" h="1009760">
                  <a:moveTo>
                    <a:pt x="580322" y="0"/>
                  </a:moveTo>
                  <a:lnTo>
                    <a:pt x="1160642" y="219623"/>
                  </a:lnTo>
                  <a:lnTo>
                    <a:pt x="1160642" y="790137"/>
                  </a:lnTo>
                  <a:lnTo>
                    <a:pt x="580322" y="1009760"/>
                  </a:lnTo>
                  <a:lnTo>
                    <a:pt x="1" y="790137"/>
                  </a:lnTo>
                  <a:lnTo>
                    <a:pt x="1" y="219623"/>
                  </a:lnTo>
                  <a:lnTo>
                    <a:pt x="580322" y="0"/>
                  </a:lnTo>
                  <a:close/>
                </a:path>
              </a:pathLst>
            </a:custGeom>
            <a:solidFill>
              <a:schemeClr val="accent2"/>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82457" tIns="92378" rIns="82457" bIns="92377" numCol="1" spcCol="1270" anchor="ctr" anchorCtr="0">
              <a:noAutofit/>
            </a:bodyPr>
            <a:lstStyle/>
            <a:p>
              <a:pPr algn="ctr" defTabSz="187523" eaLnBrk="1" fontAlgn="auto" hangingPunct="1">
                <a:lnSpc>
                  <a:spcPct val="90000"/>
                </a:lnSpc>
                <a:spcAft>
                  <a:spcPct val="35000"/>
                </a:spcAft>
                <a:defRPr/>
              </a:pPr>
              <a:r>
                <a:rPr lang="en-GB" sz="1050" b="1" dirty="0">
                  <a:solidFill>
                    <a:srgbClr val="000000"/>
                  </a:solidFill>
                  <a:ea typeface="Open Sans Semibold" panose="020B0706030804020204" pitchFamily="34" charset="0"/>
                  <a:cs typeface="Open Sans Semibold" panose="020B0706030804020204" pitchFamily="34" charset="0"/>
                </a:rPr>
                <a:t>Customer Service</a:t>
              </a:r>
              <a:endParaRPr lang="en-US" sz="1050" b="1" dirty="0">
                <a:solidFill>
                  <a:srgbClr val="000000"/>
                </a:solidFill>
                <a:ea typeface="Open Sans Semibold" panose="020B0706030804020204" pitchFamily="34" charset="0"/>
                <a:cs typeface="Open Sans Semibold" panose="020B0706030804020204" pitchFamily="34" charset="0"/>
              </a:endParaRPr>
            </a:p>
          </p:txBody>
        </p:sp>
        <p:sp>
          <p:nvSpPr>
            <p:cNvPr id="12" name="Freeform: Shape 11">
              <a:extLst>
                <a:ext uri="{FF2B5EF4-FFF2-40B4-BE49-F238E27FC236}">
                  <a16:creationId xmlns:a16="http://schemas.microsoft.com/office/drawing/2014/main" id="{F9E6D921-8758-AA97-FF3D-CEBE12348032}"/>
                </a:ext>
              </a:extLst>
            </p:cNvPr>
            <p:cNvSpPr/>
            <p:nvPr/>
          </p:nvSpPr>
          <p:spPr>
            <a:xfrm>
              <a:off x="4637819" y="3201679"/>
              <a:ext cx="977030" cy="1123022"/>
            </a:xfrm>
            <a:custGeom>
              <a:avLst/>
              <a:gdLst>
                <a:gd name="connsiteX0" fmla="*/ 0 w 1160643"/>
                <a:gd name="connsiteY0" fmla="*/ 504880 h 1009760"/>
                <a:gd name="connsiteX1" fmla="*/ 252440 w 1160643"/>
                <a:gd name="connsiteY1" fmla="*/ 0 h 1009760"/>
                <a:gd name="connsiteX2" fmla="*/ 908203 w 1160643"/>
                <a:gd name="connsiteY2" fmla="*/ 0 h 1009760"/>
                <a:gd name="connsiteX3" fmla="*/ 1160643 w 1160643"/>
                <a:gd name="connsiteY3" fmla="*/ 504880 h 1009760"/>
                <a:gd name="connsiteX4" fmla="*/ 908203 w 1160643"/>
                <a:gd name="connsiteY4" fmla="*/ 1009760 h 1009760"/>
                <a:gd name="connsiteX5" fmla="*/ 252440 w 1160643"/>
                <a:gd name="connsiteY5" fmla="*/ 1009760 h 1009760"/>
                <a:gd name="connsiteX6" fmla="*/ 0 w 1160643"/>
                <a:gd name="connsiteY6" fmla="*/ 504880 h 10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643" h="1009760">
                  <a:moveTo>
                    <a:pt x="580322" y="0"/>
                  </a:moveTo>
                  <a:lnTo>
                    <a:pt x="1160642" y="219623"/>
                  </a:lnTo>
                  <a:lnTo>
                    <a:pt x="1160642" y="790137"/>
                  </a:lnTo>
                  <a:lnTo>
                    <a:pt x="580322" y="1009760"/>
                  </a:lnTo>
                  <a:lnTo>
                    <a:pt x="1" y="790137"/>
                  </a:lnTo>
                  <a:lnTo>
                    <a:pt x="1" y="219623"/>
                  </a:lnTo>
                  <a:lnTo>
                    <a:pt x="580322" y="0"/>
                  </a:lnTo>
                  <a:close/>
                </a:path>
              </a:pathLst>
            </a:custGeom>
            <a:solidFill>
              <a:schemeClr val="accent3"/>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9243" tIns="89162" rIns="79243" bIns="89162" numCol="1" spcCol="1270" anchor="ctr" anchorCtr="0">
              <a:noAutofit/>
            </a:bodyPr>
            <a:lstStyle/>
            <a:p>
              <a:pPr algn="ctr" defTabSz="150019"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Employee Recruiting and Hiring</a:t>
              </a:r>
            </a:p>
          </p:txBody>
        </p:sp>
        <p:sp>
          <p:nvSpPr>
            <p:cNvPr id="13" name="Freeform: Shape 12">
              <a:extLst>
                <a:ext uri="{FF2B5EF4-FFF2-40B4-BE49-F238E27FC236}">
                  <a16:creationId xmlns:a16="http://schemas.microsoft.com/office/drawing/2014/main" id="{0A38BFE8-3883-8D06-4EC0-B080A9A837DA}"/>
                </a:ext>
              </a:extLst>
            </p:cNvPr>
            <p:cNvSpPr/>
            <p:nvPr/>
          </p:nvSpPr>
          <p:spPr>
            <a:xfrm>
              <a:off x="6788839" y="3197410"/>
              <a:ext cx="977030" cy="1123022"/>
            </a:xfrm>
            <a:custGeom>
              <a:avLst/>
              <a:gdLst>
                <a:gd name="connsiteX0" fmla="*/ 0 w 1160643"/>
                <a:gd name="connsiteY0" fmla="*/ 504880 h 1009760"/>
                <a:gd name="connsiteX1" fmla="*/ 252440 w 1160643"/>
                <a:gd name="connsiteY1" fmla="*/ 0 h 1009760"/>
                <a:gd name="connsiteX2" fmla="*/ 908203 w 1160643"/>
                <a:gd name="connsiteY2" fmla="*/ 0 h 1009760"/>
                <a:gd name="connsiteX3" fmla="*/ 1160643 w 1160643"/>
                <a:gd name="connsiteY3" fmla="*/ 504880 h 1009760"/>
                <a:gd name="connsiteX4" fmla="*/ 908203 w 1160643"/>
                <a:gd name="connsiteY4" fmla="*/ 1009760 h 1009760"/>
                <a:gd name="connsiteX5" fmla="*/ 252440 w 1160643"/>
                <a:gd name="connsiteY5" fmla="*/ 1009760 h 1009760"/>
                <a:gd name="connsiteX6" fmla="*/ 0 w 1160643"/>
                <a:gd name="connsiteY6" fmla="*/ 504880 h 10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643" h="1009760">
                  <a:moveTo>
                    <a:pt x="580322" y="0"/>
                  </a:moveTo>
                  <a:lnTo>
                    <a:pt x="1160642" y="219623"/>
                  </a:lnTo>
                  <a:lnTo>
                    <a:pt x="1160642" y="790137"/>
                  </a:lnTo>
                  <a:lnTo>
                    <a:pt x="580322" y="1009760"/>
                  </a:lnTo>
                  <a:lnTo>
                    <a:pt x="1" y="790137"/>
                  </a:lnTo>
                  <a:lnTo>
                    <a:pt x="1" y="219623"/>
                  </a:lnTo>
                  <a:lnTo>
                    <a:pt x="580322" y="0"/>
                  </a:lnTo>
                  <a:close/>
                </a:path>
              </a:pathLst>
            </a:custGeom>
            <a:solidFill>
              <a:schemeClr val="accent5"/>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393" tIns="92303" rIns="82393" bIns="92303" numCol="1" spcCol="1270" anchor="ctr" anchorCtr="0">
              <a:noAutofit/>
            </a:bodyPr>
            <a:lstStyle/>
            <a:p>
              <a:pPr algn="ctr" defTabSz="187523"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Robotics</a:t>
              </a:r>
            </a:p>
          </p:txBody>
        </p:sp>
        <p:sp>
          <p:nvSpPr>
            <p:cNvPr id="14" name="Freeform: Shape 13">
              <a:extLst>
                <a:ext uri="{FF2B5EF4-FFF2-40B4-BE49-F238E27FC236}">
                  <a16:creationId xmlns:a16="http://schemas.microsoft.com/office/drawing/2014/main" id="{E7131920-3AC4-F747-2CBD-261AF2391BD5}"/>
                </a:ext>
              </a:extLst>
            </p:cNvPr>
            <p:cNvSpPr/>
            <p:nvPr/>
          </p:nvSpPr>
          <p:spPr>
            <a:xfrm>
              <a:off x="2484887" y="3197410"/>
              <a:ext cx="977030" cy="1123022"/>
            </a:xfrm>
            <a:custGeom>
              <a:avLst/>
              <a:gdLst>
                <a:gd name="connsiteX0" fmla="*/ 0 w 1160643"/>
                <a:gd name="connsiteY0" fmla="*/ 504880 h 1009760"/>
                <a:gd name="connsiteX1" fmla="*/ 252440 w 1160643"/>
                <a:gd name="connsiteY1" fmla="*/ 0 h 1009760"/>
                <a:gd name="connsiteX2" fmla="*/ 908203 w 1160643"/>
                <a:gd name="connsiteY2" fmla="*/ 0 h 1009760"/>
                <a:gd name="connsiteX3" fmla="*/ 1160643 w 1160643"/>
                <a:gd name="connsiteY3" fmla="*/ 504880 h 1009760"/>
                <a:gd name="connsiteX4" fmla="*/ 908203 w 1160643"/>
                <a:gd name="connsiteY4" fmla="*/ 1009760 h 1009760"/>
                <a:gd name="connsiteX5" fmla="*/ 252440 w 1160643"/>
                <a:gd name="connsiteY5" fmla="*/ 1009760 h 1009760"/>
                <a:gd name="connsiteX6" fmla="*/ 0 w 1160643"/>
                <a:gd name="connsiteY6" fmla="*/ 504880 h 10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643" h="1009760">
                  <a:moveTo>
                    <a:pt x="580322" y="0"/>
                  </a:moveTo>
                  <a:lnTo>
                    <a:pt x="1160642" y="219623"/>
                  </a:lnTo>
                  <a:lnTo>
                    <a:pt x="1160642" y="790137"/>
                  </a:lnTo>
                  <a:lnTo>
                    <a:pt x="580322" y="1009760"/>
                  </a:lnTo>
                  <a:lnTo>
                    <a:pt x="1" y="790137"/>
                  </a:lnTo>
                  <a:lnTo>
                    <a:pt x="1" y="219623"/>
                  </a:lnTo>
                  <a:lnTo>
                    <a:pt x="580322" y="0"/>
                  </a:lnTo>
                  <a:close/>
                </a:path>
              </a:pathLst>
            </a:custGeom>
            <a:solidFill>
              <a:schemeClr val="accent1"/>
            </a:solidFill>
          </p:spPr>
          <p:style>
            <a:lnRef idx="2">
              <a:schemeClr val="lt1">
                <a:hueOff val="0"/>
                <a:satOff val="0"/>
                <a:lumOff val="0"/>
                <a:alphaOff val="0"/>
              </a:schemeClr>
            </a:lnRef>
            <a:fillRef idx="1">
              <a:schemeClr val="accent2">
                <a:hueOff val="3083819"/>
                <a:satOff val="-51616"/>
                <a:lumOff val="21177"/>
                <a:alphaOff val="0"/>
              </a:schemeClr>
            </a:fillRef>
            <a:effectRef idx="0">
              <a:schemeClr val="accent2">
                <a:hueOff val="3083819"/>
                <a:satOff val="-51616"/>
                <a:lumOff val="21177"/>
                <a:alphaOff val="0"/>
              </a:schemeClr>
            </a:effectRef>
            <a:fontRef idx="minor">
              <a:schemeClr val="lt1"/>
            </a:fontRef>
          </p:style>
          <p:txBody>
            <a:bodyPr spcFirstLastPara="0" vert="horz" wrap="square" lIns="82457" tIns="92378" rIns="82457" bIns="92377" numCol="1" spcCol="1270" anchor="ctr" anchorCtr="0">
              <a:noAutofit/>
            </a:bodyPr>
            <a:lstStyle/>
            <a:p>
              <a:pPr algn="ctr" defTabSz="187523"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Self-driving Cars</a:t>
              </a:r>
            </a:p>
          </p:txBody>
        </p:sp>
        <p:sp>
          <p:nvSpPr>
            <p:cNvPr id="15" name="Freeform: Shape 14">
              <a:extLst>
                <a:ext uri="{FF2B5EF4-FFF2-40B4-BE49-F238E27FC236}">
                  <a16:creationId xmlns:a16="http://schemas.microsoft.com/office/drawing/2014/main" id="{ABE8FA38-C005-6647-DA79-0CB2C7621196}"/>
                </a:ext>
              </a:extLst>
            </p:cNvPr>
            <p:cNvSpPr/>
            <p:nvPr/>
          </p:nvSpPr>
          <p:spPr>
            <a:xfrm>
              <a:off x="1946654" y="2249791"/>
              <a:ext cx="977030" cy="1123022"/>
            </a:xfrm>
            <a:custGeom>
              <a:avLst/>
              <a:gdLst>
                <a:gd name="connsiteX0" fmla="*/ 0 w 1160643"/>
                <a:gd name="connsiteY0" fmla="*/ 504880 h 1009760"/>
                <a:gd name="connsiteX1" fmla="*/ 252440 w 1160643"/>
                <a:gd name="connsiteY1" fmla="*/ 0 h 1009760"/>
                <a:gd name="connsiteX2" fmla="*/ 908203 w 1160643"/>
                <a:gd name="connsiteY2" fmla="*/ 0 h 1009760"/>
                <a:gd name="connsiteX3" fmla="*/ 1160643 w 1160643"/>
                <a:gd name="connsiteY3" fmla="*/ 504880 h 1009760"/>
                <a:gd name="connsiteX4" fmla="*/ 908203 w 1160643"/>
                <a:gd name="connsiteY4" fmla="*/ 1009760 h 1009760"/>
                <a:gd name="connsiteX5" fmla="*/ 252440 w 1160643"/>
                <a:gd name="connsiteY5" fmla="*/ 1009760 h 1009760"/>
                <a:gd name="connsiteX6" fmla="*/ 0 w 1160643"/>
                <a:gd name="connsiteY6" fmla="*/ 504880 h 10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643" h="1009760">
                  <a:moveTo>
                    <a:pt x="580322" y="0"/>
                  </a:moveTo>
                  <a:lnTo>
                    <a:pt x="1160642" y="219623"/>
                  </a:lnTo>
                  <a:lnTo>
                    <a:pt x="1160642" y="790137"/>
                  </a:lnTo>
                  <a:lnTo>
                    <a:pt x="580322" y="1009760"/>
                  </a:lnTo>
                  <a:lnTo>
                    <a:pt x="1" y="790137"/>
                  </a:lnTo>
                  <a:lnTo>
                    <a:pt x="1" y="219623"/>
                  </a:lnTo>
                  <a:lnTo>
                    <a:pt x="580322" y="0"/>
                  </a:lnTo>
                  <a:close/>
                </a:path>
              </a:pathLst>
            </a:custGeom>
            <a:solidFill>
              <a:schemeClr val="accent1"/>
            </a:solidFill>
          </p:spPr>
          <p:style>
            <a:lnRef idx="2">
              <a:schemeClr val="lt1">
                <a:hueOff val="0"/>
                <a:satOff val="0"/>
                <a:lumOff val="0"/>
                <a:alphaOff val="0"/>
              </a:schemeClr>
            </a:lnRef>
            <a:fillRef idx="1">
              <a:schemeClr val="accent2">
                <a:hueOff val="3083819"/>
                <a:satOff val="-51616"/>
                <a:lumOff val="21177"/>
                <a:alphaOff val="0"/>
              </a:schemeClr>
            </a:fillRef>
            <a:effectRef idx="0">
              <a:schemeClr val="accent2">
                <a:hueOff val="3083819"/>
                <a:satOff val="-51616"/>
                <a:lumOff val="21177"/>
                <a:alphaOff val="0"/>
              </a:schemeClr>
            </a:effectRef>
            <a:fontRef idx="minor">
              <a:schemeClr val="lt1"/>
            </a:fontRef>
          </p:style>
          <p:txBody>
            <a:bodyPr spcFirstLastPara="0" vert="horz" wrap="square" lIns="82457" tIns="92378" rIns="82457" bIns="92377" numCol="1" spcCol="1270" anchor="ctr" anchorCtr="0">
              <a:noAutofit/>
            </a:bodyPr>
            <a:lstStyle/>
            <a:p>
              <a:pPr algn="ctr" defTabSz="187523"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Social Media Monitoring</a:t>
              </a:r>
            </a:p>
          </p:txBody>
        </p:sp>
        <p:sp>
          <p:nvSpPr>
            <p:cNvPr id="16" name="Freeform: Shape 15">
              <a:extLst>
                <a:ext uri="{FF2B5EF4-FFF2-40B4-BE49-F238E27FC236}">
                  <a16:creationId xmlns:a16="http://schemas.microsoft.com/office/drawing/2014/main" id="{4220069C-AB11-9844-D264-ABEFB7FB3EBA}"/>
                </a:ext>
              </a:extLst>
            </p:cNvPr>
            <p:cNvSpPr/>
            <p:nvPr/>
          </p:nvSpPr>
          <p:spPr>
            <a:xfrm>
              <a:off x="3023120" y="2249791"/>
              <a:ext cx="977030" cy="1123022"/>
            </a:xfrm>
            <a:custGeom>
              <a:avLst/>
              <a:gdLst>
                <a:gd name="connsiteX0" fmla="*/ 0 w 1160643"/>
                <a:gd name="connsiteY0" fmla="*/ 504880 h 1009760"/>
                <a:gd name="connsiteX1" fmla="*/ 252440 w 1160643"/>
                <a:gd name="connsiteY1" fmla="*/ 0 h 1009760"/>
                <a:gd name="connsiteX2" fmla="*/ 908203 w 1160643"/>
                <a:gd name="connsiteY2" fmla="*/ 0 h 1009760"/>
                <a:gd name="connsiteX3" fmla="*/ 1160643 w 1160643"/>
                <a:gd name="connsiteY3" fmla="*/ 504880 h 1009760"/>
                <a:gd name="connsiteX4" fmla="*/ 908203 w 1160643"/>
                <a:gd name="connsiteY4" fmla="*/ 1009760 h 1009760"/>
                <a:gd name="connsiteX5" fmla="*/ 252440 w 1160643"/>
                <a:gd name="connsiteY5" fmla="*/ 1009760 h 1009760"/>
                <a:gd name="connsiteX6" fmla="*/ 0 w 1160643"/>
                <a:gd name="connsiteY6" fmla="*/ 504880 h 10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643" h="1009760">
                  <a:moveTo>
                    <a:pt x="580322" y="0"/>
                  </a:moveTo>
                  <a:lnTo>
                    <a:pt x="1160642" y="219623"/>
                  </a:lnTo>
                  <a:lnTo>
                    <a:pt x="1160642" y="790137"/>
                  </a:lnTo>
                  <a:lnTo>
                    <a:pt x="580322" y="1009760"/>
                  </a:lnTo>
                  <a:lnTo>
                    <a:pt x="1" y="790137"/>
                  </a:lnTo>
                  <a:lnTo>
                    <a:pt x="1" y="219623"/>
                  </a:lnTo>
                  <a:lnTo>
                    <a:pt x="580322" y="0"/>
                  </a:lnTo>
                  <a:close/>
                </a:path>
              </a:pathLst>
            </a:custGeom>
            <a:solidFill>
              <a:schemeClr val="accent2"/>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82457" tIns="92378" rIns="82457" bIns="92377" numCol="1" spcCol="1270" anchor="ctr" anchorCtr="0">
              <a:noAutofit/>
            </a:bodyPr>
            <a:lstStyle/>
            <a:p>
              <a:pPr algn="ctr" defTabSz="187523"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Chatbots</a:t>
              </a:r>
            </a:p>
          </p:txBody>
        </p:sp>
        <p:sp>
          <p:nvSpPr>
            <p:cNvPr id="17" name="Freeform: Shape 16">
              <a:extLst>
                <a:ext uri="{FF2B5EF4-FFF2-40B4-BE49-F238E27FC236}">
                  <a16:creationId xmlns:a16="http://schemas.microsoft.com/office/drawing/2014/main" id="{82327948-DB93-B3BE-880D-491CAC11ACD7}"/>
                </a:ext>
              </a:extLst>
            </p:cNvPr>
            <p:cNvSpPr/>
            <p:nvPr/>
          </p:nvSpPr>
          <p:spPr>
            <a:xfrm>
              <a:off x="3023120" y="4130741"/>
              <a:ext cx="977030" cy="1123022"/>
            </a:xfrm>
            <a:custGeom>
              <a:avLst/>
              <a:gdLst>
                <a:gd name="connsiteX0" fmla="*/ 0 w 1160643"/>
                <a:gd name="connsiteY0" fmla="*/ 504880 h 1009760"/>
                <a:gd name="connsiteX1" fmla="*/ 252440 w 1160643"/>
                <a:gd name="connsiteY1" fmla="*/ 0 h 1009760"/>
                <a:gd name="connsiteX2" fmla="*/ 908203 w 1160643"/>
                <a:gd name="connsiteY2" fmla="*/ 0 h 1009760"/>
                <a:gd name="connsiteX3" fmla="*/ 1160643 w 1160643"/>
                <a:gd name="connsiteY3" fmla="*/ 504880 h 1009760"/>
                <a:gd name="connsiteX4" fmla="*/ 908203 w 1160643"/>
                <a:gd name="connsiteY4" fmla="*/ 1009760 h 1009760"/>
                <a:gd name="connsiteX5" fmla="*/ 252440 w 1160643"/>
                <a:gd name="connsiteY5" fmla="*/ 1009760 h 1009760"/>
                <a:gd name="connsiteX6" fmla="*/ 0 w 1160643"/>
                <a:gd name="connsiteY6" fmla="*/ 504880 h 10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643" h="1009760">
                  <a:moveTo>
                    <a:pt x="580322" y="0"/>
                  </a:moveTo>
                  <a:lnTo>
                    <a:pt x="1160642" y="219623"/>
                  </a:lnTo>
                  <a:lnTo>
                    <a:pt x="1160642" y="790137"/>
                  </a:lnTo>
                  <a:lnTo>
                    <a:pt x="580322" y="1009760"/>
                  </a:lnTo>
                  <a:lnTo>
                    <a:pt x="1" y="790137"/>
                  </a:lnTo>
                  <a:lnTo>
                    <a:pt x="1" y="219623"/>
                  </a:lnTo>
                  <a:lnTo>
                    <a:pt x="580322" y="0"/>
                  </a:lnTo>
                  <a:close/>
                </a:path>
              </a:pathLst>
            </a:custGeom>
            <a:solidFill>
              <a:schemeClr val="accent1"/>
            </a:solidFill>
          </p:spPr>
          <p:style>
            <a:lnRef idx="2">
              <a:schemeClr val="lt1">
                <a:hueOff val="0"/>
                <a:satOff val="0"/>
                <a:lumOff val="0"/>
                <a:alphaOff val="0"/>
              </a:schemeClr>
            </a:lnRef>
            <a:fillRef idx="1">
              <a:schemeClr val="accent2">
                <a:hueOff val="3083819"/>
                <a:satOff val="-51616"/>
                <a:lumOff val="21177"/>
                <a:alphaOff val="0"/>
              </a:schemeClr>
            </a:fillRef>
            <a:effectRef idx="0">
              <a:schemeClr val="accent2">
                <a:hueOff val="3083819"/>
                <a:satOff val="-51616"/>
                <a:lumOff val="21177"/>
                <a:alphaOff val="0"/>
              </a:schemeClr>
            </a:effectRef>
            <a:fontRef idx="minor">
              <a:schemeClr val="lt1"/>
            </a:fontRef>
          </p:style>
          <p:txBody>
            <a:bodyPr spcFirstLastPara="0" vert="horz" wrap="square" lIns="82457" tIns="92378" rIns="82457" bIns="92377" numCol="1" spcCol="1270" anchor="ctr" anchorCtr="0">
              <a:noAutofit/>
            </a:bodyPr>
            <a:lstStyle/>
            <a:p>
              <a:pPr algn="ctr" defTabSz="187523"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Healthcare Management</a:t>
              </a:r>
            </a:p>
          </p:txBody>
        </p:sp>
        <p:sp>
          <p:nvSpPr>
            <p:cNvPr id="18" name="Freeform: Shape 17">
              <a:extLst>
                <a:ext uri="{FF2B5EF4-FFF2-40B4-BE49-F238E27FC236}">
                  <a16:creationId xmlns:a16="http://schemas.microsoft.com/office/drawing/2014/main" id="{F85A1ADD-AB5A-BA7A-F6FF-F731E7580EC1}"/>
                </a:ext>
              </a:extLst>
            </p:cNvPr>
            <p:cNvSpPr/>
            <p:nvPr/>
          </p:nvSpPr>
          <p:spPr>
            <a:xfrm>
              <a:off x="3561353" y="3215412"/>
              <a:ext cx="977030" cy="1123022"/>
            </a:xfrm>
            <a:custGeom>
              <a:avLst/>
              <a:gdLst>
                <a:gd name="connsiteX0" fmla="*/ 0 w 1160643"/>
                <a:gd name="connsiteY0" fmla="*/ 504880 h 1009760"/>
                <a:gd name="connsiteX1" fmla="*/ 252440 w 1160643"/>
                <a:gd name="connsiteY1" fmla="*/ 0 h 1009760"/>
                <a:gd name="connsiteX2" fmla="*/ 908203 w 1160643"/>
                <a:gd name="connsiteY2" fmla="*/ 0 h 1009760"/>
                <a:gd name="connsiteX3" fmla="*/ 1160643 w 1160643"/>
                <a:gd name="connsiteY3" fmla="*/ 504880 h 1009760"/>
                <a:gd name="connsiteX4" fmla="*/ 908203 w 1160643"/>
                <a:gd name="connsiteY4" fmla="*/ 1009760 h 1009760"/>
                <a:gd name="connsiteX5" fmla="*/ 252440 w 1160643"/>
                <a:gd name="connsiteY5" fmla="*/ 1009760 h 1009760"/>
                <a:gd name="connsiteX6" fmla="*/ 0 w 1160643"/>
                <a:gd name="connsiteY6" fmla="*/ 504880 h 10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643" h="1009760">
                  <a:moveTo>
                    <a:pt x="580322" y="0"/>
                  </a:moveTo>
                  <a:lnTo>
                    <a:pt x="1160642" y="219623"/>
                  </a:lnTo>
                  <a:lnTo>
                    <a:pt x="1160642" y="790137"/>
                  </a:lnTo>
                  <a:lnTo>
                    <a:pt x="580322" y="1009760"/>
                  </a:lnTo>
                  <a:lnTo>
                    <a:pt x="1" y="790137"/>
                  </a:lnTo>
                  <a:lnTo>
                    <a:pt x="1" y="219623"/>
                  </a:lnTo>
                  <a:lnTo>
                    <a:pt x="580322" y="0"/>
                  </a:lnTo>
                  <a:close/>
                </a:path>
              </a:pathLst>
            </a:custGeom>
            <a:solidFill>
              <a:schemeClr val="accent2"/>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82457" tIns="92378" rIns="82457" bIns="92377" numCol="1" spcCol="1270" anchor="ctr" anchorCtr="0">
              <a:noAutofit/>
            </a:bodyPr>
            <a:lstStyle/>
            <a:p>
              <a:pPr algn="ctr" defTabSz="187523"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Face ID on Mobile Phones</a:t>
              </a:r>
            </a:p>
          </p:txBody>
        </p:sp>
        <p:sp>
          <p:nvSpPr>
            <p:cNvPr id="19" name="Freeform: Shape 18">
              <a:extLst>
                <a:ext uri="{FF2B5EF4-FFF2-40B4-BE49-F238E27FC236}">
                  <a16:creationId xmlns:a16="http://schemas.microsoft.com/office/drawing/2014/main" id="{0AD4DCD4-7180-A486-8566-1CBCD218897D}"/>
                </a:ext>
              </a:extLst>
            </p:cNvPr>
            <p:cNvSpPr/>
            <p:nvPr/>
          </p:nvSpPr>
          <p:spPr>
            <a:xfrm>
              <a:off x="1946654" y="4159504"/>
              <a:ext cx="977030" cy="1123022"/>
            </a:xfrm>
            <a:custGeom>
              <a:avLst/>
              <a:gdLst>
                <a:gd name="connsiteX0" fmla="*/ 0 w 1160643"/>
                <a:gd name="connsiteY0" fmla="*/ 504880 h 1009760"/>
                <a:gd name="connsiteX1" fmla="*/ 252440 w 1160643"/>
                <a:gd name="connsiteY1" fmla="*/ 0 h 1009760"/>
                <a:gd name="connsiteX2" fmla="*/ 908203 w 1160643"/>
                <a:gd name="connsiteY2" fmla="*/ 0 h 1009760"/>
                <a:gd name="connsiteX3" fmla="*/ 1160643 w 1160643"/>
                <a:gd name="connsiteY3" fmla="*/ 504880 h 1009760"/>
                <a:gd name="connsiteX4" fmla="*/ 908203 w 1160643"/>
                <a:gd name="connsiteY4" fmla="*/ 1009760 h 1009760"/>
                <a:gd name="connsiteX5" fmla="*/ 252440 w 1160643"/>
                <a:gd name="connsiteY5" fmla="*/ 1009760 h 1009760"/>
                <a:gd name="connsiteX6" fmla="*/ 0 w 1160643"/>
                <a:gd name="connsiteY6" fmla="*/ 504880 h 10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643" h="1009760">
                  <a:moveTo>
                    <a:pt x="580322" y="0"/>
                  </a:moveTo>
                  <a:lnTo>
                    <a:pt x="1160642" y="219623"/>
                  </a:lnTo>
                  <a:lnTo>
                    <a:pt x="1160642" y="790137"/>
                  </a:lnTo>
                  <a:lnTo>
                    <a:pt x="580322" y="1009760"/>
                  </a:lnTo>
                  <a:lnTo>
                    <a:pt x="1" y="790137"/>
                  </a:lnTo>
                  <a:lnTo>
                    <a:pt x="1" y="219623"/>
                  </a:lnTo>
                  <a:lnTo>
                    <a:pt x="580322" y="0"/>
                  </a:lnTo>
                  <a:close/>
                </a:path>
              </a:pathLst>
            </a:custGeom>
            <a:solidFill>
              <a:schemeClr val="tx2"/>
            </a:solidFill>
          </p:spPr>
          <p:style>
            <a:lnRef idx="2">
              <a:schemeClr val="lt1">
                <a:hueOff val="0"/>
                <a:satOff val="0"/>
                <a:lumOff val="0"/>
                <a:alphaOff val="0"/>
              </a:schemeClr>
            </a:lnRef>
            <a:fillRef idx="1">
              <a:schemeClr val="accent3">
                <a:hueOff val="116507"/>
                <a:satOff val="80326"/>
                <a:lumOff val="-24370"/>
                <a:alphaOff val="0"/>
              </a:schemeClr>
            </a:fillRef>
            <a:effectRef idx="0">
              <a:schemeClr val="accent3">
                <a:hueOff val="116507"/>
                <a:satOff val="80326"/>
                <a:lumOff val="-24370"/>
                <a:alphaOff val="0"/>
              </a:schemeClr>
            </a:effectRef>
            <a:fontRef idx="minor">
              <a:schemeClr val="lt1"/>
            </a:fontRef>
          </p:style>
          <p:txBody>
            <a:bodyPr spcFirstLastPara="0" vert="horz" wrap="square" lIns="82393" tIns="92303" rIns="82393" bIns="92303" numCol="1" spcCol="1270" anchor="ctr" anchorCtr="0">
              <a:noAutofit/>
            </a:bodyPr>
            <a:lstStyle/>
            <a:p>
              <a:pPr algn="ctr" defTabSz="187523"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Cyber Threat Detection + Response</a:t>
              </a:r>
            </a:p>
          </p:txBody>
        </p:sp>
        <p:sp>
          <p:nvSpPr>
            <p:cNvPr id="20" name="Freeform: Shape 19">
              <a:extLst>
                <a:ext uri="{FF2B5EF4-FFF2-40B4-BE49-F238E27FC236}">
                  <a16:creationId xmlns:a16="http://schemas.microsoft.com/office/drawing/2014/main" id="{022E9035-BD41-1B82-FD1D-7B7A2D024284}"/>
                </a:ext>
              </a:extLst>
            </p:cNvPr>
            <p:cNvSpPr/>
            <p:nvPr/>
          </p:nvSpPr>
          <p:spPr>
            <a:xfrm>
              <a:off x="5176052" y="2254060"/>
              <a:ext cx="977030" cy="1123022"/>
            </a:xfrm>
            <a:custGeom>
              <a:avLst/>
              <a:gdLst>
                <a:gd name="connsiteX0" fmla="*/ 0 w 1160643"/>
                <a:gd name="connsiteY0" fmla="*/ 504880 h 1009760"/>
                <a:gd name="connsiteX1" fmla="*/ 252440 w 1160643"/>
                <a:gd name="connsiteY1" fmla="*/ 0 h 1009760"/>
                <a:gd name="connsiteX2" fmla="*/ 908203 w 1160643"/>
                <a:gd name="connsiteY2" fmla="*/ 0 h 1009760"/>
                <a:gd name="connsiteX3" fmla="*/ 1160643 w 1160643"/>
                <a:gd name="connsiteY3" fmla="*/ 504880 h 1009760"/>
                <a:gd name="connsiteX4" fmla="*/ 908203 w 1160643"/>
                <a:gd name="connsiteY4" fmla="*/ 1009760 h 1009760"/>
                <a:gd name="connsiteX5" fmla="*/ 252440 w 1160643"/>
                <a:gd name="connsiteY5" fmla="*/ 1009760 h 1009760"/>
                <a:gd name="connsiteX6" fmla="*/ 0 w 1160643"/>
                <a:gd name="connsiteY6" fmla="*/ 504880 h 10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643" h="1009760">
                  <a:moveTo>
                    <a:pt x="580322" y="0"/>
                  </a:moveTo>
                  <a:lnTo>
                    <a:pt x="1160642" y="219623"/>
                  </a:lnTo>
                  <a:lnTo>
                    <a:pt x="1160642" y="790137"/>
                  </a:lnTo>
                  <a:lnTo>
                    <a:pt x="580322" y="1009760"/>
                  </a:lnTo>
                  <a:lnTo>
                    <a:pt x="1" y="790137"/>
                  </a:lnTo>
                  <a:lnTo>
                    <a:pt x="1" y="219623"/>
                  </a:lnTo>
                  <a:lnTo>
                    <a:pt x="580322" y="0"/>
                  </a:lnTo>
                  <a:close/>
                </a:path>
              </a:pathLst>
            </a:custGeom>
            <a:solidFill>
              <a:schemeClr val="accent4"/>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7636" tIns="87556" rIns="77636" bIns="87555" numCol="1" spcCol="1270" anchor="ctr" anchorCtr="0">
              <a:noAutofit/>
            </a:bodyPr>
            <a:lstStyle/>
            <a:p>
              <a:pPr algn="ctr" defTabSz="131267"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Banking</a:t>
              </a:r>
            </a:p>
          </p:txBody>
        </p:sp>
        <p:sp>
          <p:nvSpPr>
            <p:cNvPr id="21" name="Freeform: Shape 20">
              <a:extLst>
                <a:ext uri="{FF2B5EF4-FFF2-40B4-BE49-F238E27FC236}">
                  <a16:creationId xmlns:a16="http://schemas.microsoft.com/office/drawing/2014/main" id="{77CCD605-8626-F7D4-86F3-46D450E49632}"/>
                </a:ext>
              </a:extLst>
            </p:cNvPr>
            <p:cNvSpPr/>
            <p:nvPr/>
          </p:nvSpPr>
          <p:spPr>
            <a:xfrm>
              <a:off x="5176052" y="4135010"/>
              <a:ext cx="977030" cy="1123022"/>
            </a:xfrm>
            <a:custGeom>
              <a:avLst/>
              <a:gdLst>
                <a:gd name="connsiteX0" fmla="*/ 0 w 1160643"/>
                <a:gd name="connsiteY0" fmla="*/ 504880 h 1009760"/>
                <a:gd name="connsiteX1" fmla="*/ 252440 w 1160643"/>
                <a:gd name="connsiteY1" fmla="*/ 0 h 1009760"/>
                <a:gd name="connsiteX2" fmla="*/ 908203 w 1160643"/>
                <a:gd name="connsiteY2" fmla="*/ 0 h 1009760"/>
                <a:gd name="connsiteX3" fmla="*/ 1160643 w 1160643"/>
                <a:gd name="connsiteY3" fmla="*/ 504880 h 1009760"/>
                <a:gd name="connsiteX4" fmla="*/ 908203 w 1160643"/>
                <a:gd name="connsiteY4" fmla="*/ 1009760 h 1009760"/>
                <a:gd name="connsiteX5" fmla="*/ 252440 w 1160643"/>
                <a:gd name="connsiteY5" fmla="*/ 1009760 h 1009760"/>
                <a:gd name="connsiteX6" fmla="*/ 0 w 1160643"/>
                <a:gd name="connsiteY6" fmla="*/ 504880 h 10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643" h="1009760">
                  <a:moveTo>
                    <a:pt x="580322" y="0"/>
                  </a:moveTo>
                  <a:lnTo>
                    <a:pt x="1160642" y="219623"/>
                  </a:lnTo>
                  <a:lnTo>
                    <a:pt x="1160642" y="790137"/>
                  </a:lnTo>
                  <a:lnTo>
                    <a:pt x="580322" y="1009760"/>
                  </a:lnTo>
                  <a:lnTo>
                    <a:pt x="1" y="790137"/>
                  </a:lnTo>
                  <a:lnTo>
                    <a:pt x="1" y="219623"/>
                  </a:lnTo>
                  <a:lnTo>
                    <a:pt x="580322" y="0"/>
                  </a:lnTo>
                  <a:close/>
                </a:path>
              </a:pathLst>
            </a:custGeom>
            <a:solidFill>
              <a:schemeClr val="accent3"/>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79243" tIns="89162" rIns="79243" bIns="89162" numCol="1" spcCol="1270" anchor="ctr" anchorCtr="0">
              <a:noAutofit/>
            </a:bodyPr>
            <a:lstStyle/>
            <a:p>
              <a:pPr algn="ctr" defTabSz="150019"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Write Excel Formulas</a:t>
              </a:r>
            </a:p>
          </p:txBody>
        </p:sp>
        <p:sp>
          <p:nvSpPr>
            <p:cNvPr id="22" name="Freeform: Shape 21">
              <a:extLst>
                <a:ext uri="{FF2B5EF4-FFF2-40B4-BE49-F238E27FC236}">
                  <a16:creationId xmlns:a16="http://schemas.microsoft.com/office/drawing/2014/main" id="{C34DBCAB-7048-A028-2B10-90CDF95240B0}"/>
                </a:ext>
              </a:extLst>
            </p:cNvPr>
            <p:cNvSpPr/>
            <p:nvPr/>
          </p:nvSpPr>
          <p:spPr>
            <a:xfrm>
              <a:off x="5714287" y="3198197"/>
              <a:ext cx="976075" cy="1121925"/>
            </a:xfrm>
            <a:custGeom>
              <a:avLst/>
              <a:gdLst>
                <a:gd name="connsiteX0" fmla="*/ 0 w 1159510"/>
                <a:gd name="connsiteY0" fmla="*/ 504387 h 1008774"/>
                <a:gd name="connsiteX1" fmla="*/ 252194 w 1159510"/>
                <a:gd name="connsiteY1" fmla="*/ 0 h 1008774"/>
                <a:gd name="connsiteX2" fmla="*/ 907317 w 1159510"/>
                <a:gd name="connsiteY2" fmla="*/ 0 h 1008774"/>
                <a:gd name="connsiteX3" fmla="*/ 1159510 w 1159510"/>
                <a:gd name="connsiteY3" fmla="*/ 504387 h 1008774"/>
                <a:gd name="connsiteX4" fmla="*/ 907317 w 1159510"/>
                <a:gd name="connsiteY4" fmla="*/ 1008774 h 1008774"/>
                <a:gd name="connsiteX5" fmla="*/ 252194 w 1159510"/>
                <a:gd name="connsiteY5" fmla="*/ 1008774 h 1008774"/>
                <a:gd name="connsiteX6" fmla="*/ 0 w 1159510"/>
                <a:gd name="connsiteY6" fmla="*/ 504387 h 100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9510" h="1008774">
                  <a:moveTo>
                    <a:pt x="579755" y="0"/>
                  </a:moveTo>
                  <a:lnTo>
                    <a:pt x="1159510" y="219409"/>
                  </a:lnTo>
                  <a:lnTo>
                    <a:pt x="1159510" y="789366"/>
                  </a:lnTo>
                  <a:lnTo>
                    <a:pt x="579755" y="1008774"/>
                  </a:lnTo>
                  <a:lnTo>
                    <a:pt x="0" y="789366"/>
                  </a:lnTo>
                  <a:lnTo>
                    <a:pt x="0" y="219409"/>
                  </a:lnTo>
                  <a:lnTo>
                    <a:pt x="579755" y="0"/>
                  </a:lnTo>
                  <a:close/>
                </a:path>
              </a:pathLst>
            </a:custGeom>
            <a:solidFill>
              <a:schemeClr val="accent4"/>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7636" tIns="87556" rIns="77636" bIns="87555" numCol="1" spcCol="1270" anchor="ctr" anchorCtr="0">
              <a:noAutofit/>
            </a:bodyPr>
            <a:lstStyle/>
            <a:p>
              <a:pPr algn="ctr" defTabSz="131267"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Compose Emails and Messages</a:t>
              </a:r>
            </a:p>
          </p:txBody>
        </p:sp>
        <p:sp>
          <p:nvSpPr>
            <p:cNvPr id="23" name="Freeform: Shape 22">
              <a:extLst>
                <a:ext uri="{FF2B5EF4-FFF2-40B4-BE49-F238E27FC236}">
                  <a16:creationId xmlns:a16="http://schemas.microsoft.com/office/drawing/2014/main" id="{8663D043-3676-0A5D-5B3B-DA5F3A73D8D4}"/>
                </a:ext>
              </a:extLst>
            </p:cNvPr>
            <p:cNvSpPr/>
            <p:nvPr/>
          </p:nvSpPr>
          <p:spPr>
            <a:xfrm>
              <a:off x="1409377" y="3189117"/>
              <a:ext cx="976075" cy="1121925"/>
            </a:xfrm>
            <a:custGeom>
              <a:avLst/>
              <a:gdLst>
                <a:gd name="connsiteX0" fmla="*/ 0 w 1159510"/>
                <a:gd name="connsiteY0" fmla="*/ 504387 h 1008774"/>
                <a:gd name="connsiteX1" fmla="*/ 252194 w 1159510"/>
                <a:gd name="connsiteY1" fmla="*/ 0 h 1008774"/>
                <a:gd name="connsiteX2" fmla="*/ 907317 w 1159510"/>
                <a:gd name="connsiteY2" fmla="*/ 0 h 1008774"/>
                <a:gd name="connsiteX3" fmla="*/ 1159510 w 1159510"/>
                <a:gd name="connsiteY3" fmla="*/ 504387 h 1008774"/>
                <a:gd name="connsiteX4" fmla="*/ 907317 w 1159510"/>
                <a:gd name="connsiteY4" fmla="*/ 1008774 h 1008774"/>
                <a:gd name="connsiteX5" fmla="*/ 252194 w 1159510"/>
                <a:gd name="connsiteY5" fmla="*/ 1008774 h 1008774"/>
                <a:gd name="connsiteX6" fmla="*/ 0 w 1159510"/>
                <a:gd name="connsiteY6" fmla="*/ 504387 h 100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9510" h="1008774">
                  <a:moveTo>
                    <a:pt x="579755" y="0"/>
                  </a:moveTo>
                  <a:lnTo>
                    <a:pt x="1159510" y="219409"/>
                  </a:lnTo>
                  <a:lnTo>
                    <a:pt x="1159510" y="789366"/>
                  </a:lnTo>
                  <a:lnTo>
                    <a:pt x="579755" y="1008774"/>
                  </a:lnTo>
                  <a:lnTo>
                    <a:pt x="0" y="789366"/>
                  </a:lnTo>
                  <a:lnTo>
                    <a:pt x="0" y="219409"/>
                  </a:lnTo>
                  <a:lnTo>
                    <a:pt x="579755" y="0"/>
                  </a:lnTo>
                  <a:close/>
                </a:path>
              </a:pathLst>
            </a:custGeom>
            <a:solidFill>
              <a:schemeClr val="tx2"/>
            </a:solidFill>
          </p:spPr>
          <p:style>
            <a:lnRef idx="2">
              <a:schemeClr val="lt1">
                <a:hueOff val="0"/>
                <a:satOff val="0"/>
                <a:lumOff val="0"/>
                <a:alphaOff val="0"/>
              </a:schemeClr>
            </a:lnRef>
            <a:fillRef idx="1">
              <a:schemeClr val="accent3">
                <a:hueOff val="116507"/>
                <a:satOff val="80326"/>
                <a:lumOff val="-24370"/>
                <a:alphaOff val="0"/>
              </a:schemeClr>
            </a:fillRef>
            <a:effectRef idx="0">
              <a:schemeClr val="accent3">
                <a:hueOff val="116507"/>
                <a:satOff val="80326"/>
                <a:lumOff val="-24370"/>
                <a:alphaOff val="0"/>
              </a:schemeClr>
            </a:effectRef>
            <a:fontRef idx="minor">
              <a:schemeClr val="lt1"/>
            </a:fontRef>
          </p:style>
          <p:txBody>
            <a:bodyPr spcFirstLastPara="0" vert="horz" wrap="square" lIns="82393" tIns="92303" rIns="82393" bIns="92303" numCol="1" spcCol="1270" anchor="ctr" anchorCtr="0">
              <a:noAutofit/>
            </a:bodyPr>
            <a:lstStyle/>
            <a:p>
              <a:pPr algn="ctr" defTabSz="187523"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Automated Industrial Machinery</a:t>
              </a:r>
            </a:p>
          </p:txBody>
        </p:sp>
        <p:sp>
          <p:nvSpPr>
            <p:cNvPr id="24" name="Freeform: Shape 23">
              <a:extLst>
                <a:ext uri="{FF2B5EF4-FFF2-40B4-BE49-F238E27FC236}">
                  <a16:creationId xmlns:a16="http://schemas.microsoft.com/office/drawing/2014/main" id="{B28F49C8-7841-14F1-29E9-3EA26D2FADE0}"/>
                </a:ext>
              </a:extLst>
            </p:cNvPr>
            <p:cNvSpPr/>
            <p:nvPr/>
          </p:nvSpPr>
          <p:spPr>
            <a:xfrm>
              <a:off x="6251565" y="2251299"/>
              <a:ext cx="976075" cy="1121925"/>
            </a:xfrm>
            <a:custGeom>
              <a:avLst/>
              <a:gdLst>
                <a:gd name="connsiteX0" fmla="*/ 0 w 1159510"/>
                <a:gd name="connsiteY0" fmla="*/ 504387 h 1008774"/>
                <a:gd name="connsiteX1" fmla="*/ 252194 w 1159510"/>
                <a:gd name="connsiteY1" fmla="*/ 0 h 1008774"/>
                <a:gd name="connsiteX2" fmla="*/ 907317 w 1159510"/>
                <a:gd name="connsiteY2" fmla="*/ 0 h 1008774"/>
                <a:gd name="connsiteX3" fmla="*/ 1159510 w 1159510"/>
                <a:gd name="connsiteY3" fmla="*/ 504387 h 1008774"/>
                <a:gd name="connsiteX4" fmla="*/ 907317 w 1159510"/>
                <a:gd name="connsiteY4" fmla="*/ 1008774 h 1008774"/>
                <a:gd name="connsiteX5" fmla="*/ 252194 w 1159510"/>
                <a:gd name="connsiteY5" fmla="*/ 1008774 h 1008774"/>
                <a:gd name="connsiteX6" fmla="*/ 0 w 1159510"/>
                <a:gd name="connsiteY6" fmla="*/ 504387 h 100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9510" h="1008774">
                  <a:moveTo>
                    <a:pt x="579755" y="0"/>
                  </a:moveTo>
                  <a:lnTo>
                    <a:pt x="1159510" y="219409"/>
                  </a:lnTo>
                  <a:lnTo>
                    <a:pt x="1159510" y="789366"/>
                  </a:lnTo>
                  <a:lnTo>
                    <a:pt x="579755" y="1008774"/>
                  </a:lnTo>
                  <a:lnTo>
                    <a:pt x="0" y="789366"/>
                  </a:lnTo>
                  <a:lnTo>
                    <a:pt x="0" y="219409"/>
                  </a:lnTo>
                  <a:lnTo>
                    <a:pt x="579755" y="0"/>
                  </a:lnTo>
                  <a:close/>
                </a:path>
              </a:pathLst>
            </a:custGeom>
            <a:solidFill>
              <a:schemeClr val="accent5"/>
            </a:solidFill>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82393" tIns="92303" rIns="82393" bIns="92303" numCol="1" spcCol="1270" anchor="ctr" anchorCtr="0">
              <a:noAutofit/>
            </a:bodyPr>
            <a:lstStyle/>
            <a:p>
              <a:pPr algn="ctr" defTabSz="187523"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Proofread Documents</a:t>
              </a:r>
            </a:p>
          </p:txBody>
        </p:sp>
        <p:sp>
          <p:nvSpPr>
            <p:cNvPr id="25" name="Freeform: Shape 24">
              <a:extLst>
                <a:ext uri="{FF2B5EF4-FFF2-40B4-BE49-F238E27FC236}">
                  <a16:creationId xmlns:a16="http://schemas.microsoft.com/office/drawing/2014/main" id="{FDF807BE-6859-1D43-2098-7BC45B195165}"/>
                </a:ext>
              </a:extLst>
            </p:cNvPr>
            <p:cNvSpPr/>
            <p:nvPr/>
          </p:nvSpPr>
          <p:spPr>
            <a:xfrm>
              <a:off x="6251565" y="4130807"/>
              <a:ext cx="976075" cy="1121925"/>
            </a:xfrm>
            <a:custGeom>
              <a:avLst/>
              <a:gdLst>
                <a:gd name="connsiteX0" fmla="*/ 0 w 1159510"/>
                <a:gd name="connsiteY0" fmla="*/ 504387 h 1008774"/>
                <a:gd name="connsiteX1" fmla="*/ 252194 w 1159510"/>
                <a:gd name="connsiteY1" fmla="*/ 0 h 1008774"/>
                <a:gd name="connsiteX2" fmla="*/ 907317 w 1159510"/>
                <a:gd name="connsiteY2" fmla="*/ 0 h 1008774"/>
                <a:gd name="connsiteX3" fmla="*/ 1159510 w 1159510"/>
                <a:gd name="connsiteY3" fmla="*/ 504387 h 1008774"/>
                <a:gd name="connsiteX4" fmla="*/ 907317 w 1159510"/>
                <a:gd name="connsiteY4" fmla="*/ 1008774 h 1008774"/>
                <a:gd name="connsiteX5" fmla="*/ 252194 w 1159510"/>
                <a:gd name="connsiteY5" fmla="*/ 1008774 h 1008774"/>
                <a:gd name="connsiteX6" fmla="*/ 0 w 1159510"/>
                <a:gd name="connsiteY6" fmla="*/ 504387 h 100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9510" h="1008774">
                  <a:moveTo>
                    <a:pt x="579755" y="0"/>
                  </a:moveTo>
                  <a:lnTo>
                    <a:pt x="1159510" y="219409"/>
                  </a:lnTo>
                  <a:lnTo>
                    <a:pt x="1159510" y="789366"/>
                  </a:lnTo>
                  <a:lnTo>
                    <a:pt x="579755" y="1008774"/>
                  </a:lnTo>
                  <a:lnTo>
                    <a:pt x="0" y="789366"/>
                  </a:lnTo>
                  <a:lnTo>
                    <a:pt x="0" y="219409"/>
                  </a:lnTo>
                  <a:lnTo>
                    <a:pt x="579755" y="0"/>
                  </a:lnTo>
                  <a:close/>
                </a:path>
              </a:pathLst>
            </a:custGeom>
            <a:solidFill>
              <a:schemeClr val="accent4"/>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77636" tIns="87556" rIns="77636" bIns="87555" numCol="1" spcCol="1270" anchor="ctr" anchorCtr="0">
              <a:noAutofit/>
            </a:bodyPr>
            <a:lstStyle/>
            <a:p>
              <a:pPr algn="ctr" defTabSz="131267" eaLnBrk="1" fontAlgn="auto" hangingPunct="1">
                <a:lnSpc>
                  <a:spcPct val="90000"/>
                </a:lnSpc>
                <a:spcAft>
                  <a:spcPct val="35000"/>
                </a:spcAft>
                <a:defRPr/>
              </a:pPr>
              <a:r>
                <a:rPr lang="en-US" sz="1050" b="1" dirty="0">
                  <a:solidFill>
                    <a:srgbClr val="000000"/>
                  </a:solidFill>
                  <a:ea typeface="Open Sans Semibold" panose="020B0706030804020204" pitchFamily="34" charset="0"/>
                  <a:cs typeface="Open Sans Semibold" panose="020B0706030804020204" pitchFamily="34" charset="0"/>
                </a:rPr>
                <a:t>Translation</a:t>
              </a:r>
            </a:p>
          </p:txBody>
        </p:sp>
      </p:grpSp>
    </p:spTree>
    <p:extLst>
      <p:ext uri="{BB962C8B-B14F-4D97-AF65-F5344CB8AC3E}">
        <p14:creationId xmlns:p14="http://schemas.microsoft.com/office/powerpoint/2010/main" val="2449009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D2988F-BB03-A50A-9F90-0A6B34D888DB}"/>
              </a:ext>
            </a:extLst>
          </p:cNvPr>
          <p:cNvSpPr>
            <a:spLocks noGrp="1"/>
          </p:cNvSpPr>
          <p:nvPr>
            <p:ph type="body" sz="quarter" idx="15"/>
          </p:nvPr>
        </p:nvSpPr>
        <p:spPr/>
        <p:txBody>
          <a:bodyPr/>
          <a:lstStyle/>
          <a:p>
            <a:r>
              <a:rPr lang="en-US" dirty="0"/>
              <a:t>A PRIMER ON ARTIFICIAL INTELLIGENCE</a:t>
            </a:r>
          </a:p>
        </p:txBody>
      </p:sp>
      <p:sp>
        <p:nvSpPr>
          <p:cNvPr id="9" name="Oval 8">
            <a:extLst>
              <a:ext uri="{FF2B5EF4-FFF2-40B4-BE49-F238E27FC236}">
                <a16:creationId xmlns:a16="http://schemas.microsoft.com/office/drawing/2014/main" id="{15A96456-02CD-3733-1938-471F85FA1C2B}"/>
              </a:ext>
            </a:extLst>
          </p:cNvPr>
          <p:cNvSpPr/>
          <p:nvPr/>
        </p:nvSpPr>
        <p:spPr>
          <a:xfrm>
            <a:off x="3511982" y="944080"/>
            <a:ext cx="5187491" cy="518749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3EADF4E6-9421-6E0F-2D77-81BB2939BE55}"/>
              </a:ext>
            </a:extLst>
          </p:cNvPr>
          <p:cNvSpPr/>
          <p:nvPr/>
        </p:nvSpPr>
        <p:spPr>
          <a:xfrm>
            <a:off x="4068995" y="2058107"/>
            <a:ext cx="4073464" cy="4073464"/>
          </a:xfrm>
          <a:prstGeom prst="ellipse">
            <a:avLst/>
          </a:prstGeom>
          <a:solidFill>
            <a:srgbClr val="002060"/>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2A8B4ED6-C23A-95B4-C6A6-29012964AB14}"/>
              </a:ext>
            </a:extLst>
          </p:cNvPr>
          <p:cNvSpPr/>
          <p:nvPr/>
        </p:nvSpPr>
        <p:spPr>
          <a:xfrm>
            <a:off x="4561762" y="3043640"/>
            <a:ext cx="3087931" cy="3087931"/>
          </a:xfrm>
          <a:prstGeom prst="ellipse">
            <a:avLst/>
          </a:prstGeom>
          <a:solidFill>
            <a:srgbClr val="7030A0"/>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FC77F4D0-9D2C-B7AF-43C2-EF8BE70E3AEB}"/>
              </a:ext>
            </a:extLst>
          </p:cNvPr>
          <p:cNvSpPr/>
          <p:nvPr/>
        </p:nvSpPr>
        <p:spPr>
          <a:xfrm>
            <a:off x="5048659" y="4017434"/>
            <a:ext cx="2114137" cy="2114137"/>
          </a:xfrm>
          <a:prstGeom prst="ellipse">
            <a:avLst/>
          </a:prstGeom>
          <a:solidFill>
            <a:schemeClr val="accent6"/>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20E1BCB-D7E0-AAF0-945F-2203CEBB21FF}"/>
              </a:ext>
            </a:extLst>
          </p:cNvPr>
          <p:cNvSpPr txBox="1"/>
          <p:nvPr/>
        </p:nvSpPr>
        <p:spPr>
          <a:xfrm>
            <a:off x="4892837" y="1233450"/>
            <a:ext cx="2411158"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Artificial </a:t>
            </a:r>
            <a:br>
              <a:rPr kumimoji="0" lang="en-US" b="0" i="0" u="none" strike="noStrike" kern="1200" cap="none" spc="0" normalizeH="0" baseline="0" noProof="0" dirty="0">
                <a:ln>
                  <a:noFill/>
                </a:ln>
                <a:solidFill>
                  <a:srgbClr val="FFFFFF"/>
                </a:solidFill>
                <a:effectLst/>
                <a:uLnTx/>
                <a:uFillTx/>
                <a:ea typeface="+mn-ea"/>
                <a:cs typeface="+mn-cs"/>
              </a:rPr>
            </a:br>
            <a:r>
              <a:rPr kumimoji="0" lang="en-US" b="0" i="0" u="none" strike="noStrike" kern="1200" cap="none" spc="0" normalizeH="0" baseline="0" noProof="0" dirty="0">
                <a:ln>
                  <a:noFill/>
                </a:ln>
                <a:solidFill>
                  <a:srgbClr val="FFFFFF"/>
                </a:solidFill>
                <a:effectLst/>
                <a:uLnTx/>
                <a:uFillTx/>
                <a:ea typeface="+mn-ea"/>
                <a:cs typeface="+mn-cs"/>
              </a:rPr>
              <a:t>Intelligence</a:t>
            </a:r>
          </a:p>
        </p:txBody>
      </p:sp>
      <p:sp>
        <p:nvSpPr>
          <p:cNvPr id="6" name="TextBox 5">
            <a:extLst>
              <a:ext uri="{FF2B5EF4-FFF2-40B4-BE49-F238E27FC236}">
                <a16:creationId xmlns:a16="http://schemas.microsoft.com/office/drawing/2014/main" id="{10C913C8-CB65-7A68-BC93-C5D239A59BD7}"/>
              </a:ext>
            </a:extLst>
          </p:cNvPr>
          <p:cNvSpPr txBox="1"/>
          <p:nvPr/>
        </p:nvSpPr>
        <p:spPr>
          <a:xfrm>
            <a:off x="4892837" y="2273674"/>
            <a:ext cx="2411158"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Machine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Learning</a:t>
            </a:r>
          </a:p>
        </p:txBody>
      </p:sp>
      <p:sp>
        <p:nvSpPr>
          <p:cNvPr id="7" name="TextBox 6">
            <a:extLst>
              <a:ext uri="{FF2B5EF4-FFF2-40B4-BE49-F238E27FC236}">
                <a16:creationId xmlns:a16="http://schemas.microsoft.com/office/drawing/2014/main" id="{2DD9B14D-2868-4BD6-B192-FCB658E1BB24}"/>
              </a:ext>
            </a:extLst>
          </p:cNvPr>
          <p:cNvSpPr txBox="1"/>
          <p:nvPr/>
        </p:nvSpPr>
        <p:spPr>
          <a:xfrm>
            <a:off x="4892837" y="3094885"/>
            <a:ext cx="2411158" cy="92333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Deep</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Learning/Neural Networks</a:t>
            </a:r>
          </a:p>
        </p:txBody>
      </p:sp>
      <p:sp>
        <p:nvSpPr>
          <p:cNvPr id="8" name="TextBox 7">
            <a:extLst>
              <a:ext uri="{FF2B5EF4-FFF2-40B4-BE49-F238E27FC236}">
                <a16:creationId xmlns:a16="http://schemas.microsoft.com/office/drawing/2014/main" id="{A7762A7F-CF4A-D26A-F725-1CFFA0A00E30}"/>
              </a:ext>
            </a:extLst>
          </p:cNvPr>
          <p:cNvSpPr txBox="1"/>
          <p:nvPr/>
        </p:nvSpPr>
        <p:spPr>
          <a:xfrm>
            <a:off x="5165015" y="4588170"/>
            <a:ext cx="1866802" cy="92333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Generative AI + Large Language Models (LLMs)</a:t>
            </a:r>
          </a:p>
        </p:txBody>
      </p:sp>
    </p:spTree>
    <p:extLst>
      <p:ext uri="{BB962C8B-B14F-4D97-AF65-F5344CB8AC3E}">
        <p14:creationId xmlns:p14="http://schemas.microsoft.com/office/powerpoint/2010/main" val="24315268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A88241-8FB8-9B44-F197-C064F01F9500}"/>
              </a:ext>
            </a:extLst>
          </p:cNvPr>
          <p:cNvSpPr>
            <a:spLocks noGrp="1"/>
          </p:cNvSpPr>
          <p:nvPr>
            <p:ph type="body" sz="quarter" idx="18"/>
          </p:nvPr>
        </p:nvSpPr>
        <p:spPr/>
        <p:txBody>
          <a:bodyPr/>
          <a:lstStyle/>
          <a:p>
            <a:r>
              <a:rPr lang="en-US" b="1" dirty="0">
                <a:solidFill>
                  <a:schemeClr val="accent5"/>
                </a:solidFill>
              </a:rPr>
              <a:t>Artificial Intelligence (AI) </a:t>
            </a:r>
            <a:r>
              <a:rPr lang="en-US" dirty="0"/>
              <a:t>is the capability of a computer system to </a:t>
            </a:r>
            <a:r>
              <a:rPr lang="en-US" b="1" dirty="0">
                <a:solidFill>
                  <a:schemeClr val="accent5"/>
                </a:solidFill>
              </a:rPr>
              <a:t>mimic human intelligence </a:t>
            </a:r>
            <a:r>
              <a:rPr lang="en-US" dirty="0"/>
              <a:t>and functions such as learning, problem-solving, and reading.  </a:t>
            </a:r>
          </a:p>
          <a:p>
            <a:endParaRPr lang="en-US" dirty="0"/>
          </a:p>
          <a:p>
            <a:r>
              <a:rPr lang="en-US" dirty="0"/>
              <a:t>AI can sense, reason, adapt, and act.  </a:t>
            </a:r>
          </a:p>
          <a:p>
            <a:endParaRPr lang="en-US" dirty="0"/>
          </a:p>
          <a:p>
            <a:r>
              <a:rPr lang="en-US" dirty="0"/>
              <a:t>AI is not a single technology. Rather, it exists in a </a:t>
            </a:r>
            <a:r>
              <a:rPr lang="en-US" b="1" dirty="0">
                <a:solidFill>
                  <a:schemeClr val="accent5"/>
                </a:solidFill>
              </a:rPr>
              <a:t>variety of different forms </a:t>
            </a:r>
            <a:r>
              <a:rPr lang="en-US" dirty="0"/>
              <a:t>through different functions</a:t>
            </a:r>
          </a:p>
          <a:p>
            <a:pPr lvl="1"/>
            <a:r>
              <a:rPr lang="en-US" dirty="0"/>
              <a:t>Machine Learning</a:t>
            </a:r>
          </a:p>
          <a:p>
            <a:pPr lvl="1"/>
            <a:r>
              <a:rPr lang="en-US" dirty="0"/>
              <a:t>Generative AI</a:t>
            </a:r>
          </a:p>
          <a:p>
            <a:pPr lvl="1"/>
            <a:r>
              <a:rPr lang="en-US" dirty="0"/>
              <a:t>Natural Language Processing (NLP)</a:t>
            </a:r>
          </a:p>
          <a:p>
            <a:pPr lvl="1"/>
            <a:r>
              <a:rPr lang="en-US" dirty="0"/>
              <a:t>Artificial neural networks</a:t>
            </a:r>
          </a:p>
        </p:txBody>
      </p:sp>
      <p:sp>
        <p:nvSpPr>
          <p:cNvPr id="4" name="Text Placeholder 3">
            <a:extLst>
              <a:ext uri="{FF2B5EF4-FFF2-40B4-BE49-F238E27FC236}">
                <a16:creationId xmlns:a16="http://schemas.microsoft.com/office/drawing/2014/main" id="{927E4FBF-00C6-5E11-5023-69F697A68724}"/>
              </a:ext>
            </a:extLst>
          </p:cNvPr>
          <p:cNvSpPr>
            <a:spLocks noGrp="1"/>
          </p:cNvSpPr>
          <p:nvPr>
            <p:ph type="body" sz="quarter" idx="15"/>
          </p:nvPr>
        </p:nvSpPr>
        <p:spPr/>
        <p:txBody>
          <a:bodyPr/>
          <a:lstStyle/>
          <a:p>
            <a:r>
              <a:rPr lang="en-US" dirty="0"/>
              <a:t>ARTIFICIAL INTELLIGENCE</a:t>
            </a:r>
          </a:p>
        </p:txBody>
      </p:sp>
      <p:sp>
        <p:nvSpPr>
          <p:cNvPr id="8" name="Oval 7">
            <a:extLst>
              <a:ext uri="{FF2B5EF4-FFF2-40B4-BE49-F238E27FC236}">
                <a16:creationId xmlns:a16="http://schemas.microsoft.com/office/drawing/2014/main" id="{CA67FD00-9562-B066-DB75-123B28AD5EE0}"/>
              </a:ext>
            </a:extLst>
          </p:cNvPr>
          <p:cNvSpPr/>
          <p:nvPr/>
        </p:nvSpPr>
        <p:spPr>
          <a:xfrm>
            <a:off x="371669" y="944080"/>
            <a:ext cx="5187491" cy="518749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4EF3A05-0B9C-626D-D049-232328F807B3}"/>
              </a:ext>
            </a:extLst>
          </p:cNvPr>
          <p:cNvSpPr txBox="1"/>
          <p:nvPr/>
        </p:nvSpPr>
        <p:spPr>
          <a:xfrm>
            <a:off x="1752524" y="1233450"/>
            <a:ext cx="2411158"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Artificial </a:t>
            </a:r>
            <a:br>
              <a:rPr kumimoji="0" lang="en-US" b="0" i="0" u="none" strike="noStrike" kern="1200" cap="none" spc="0" normalizeH="0" baseline="0" noProof="0" dirty="0">
                <a:ln>
                  <a:noFill/>
                </a:ln>
                <a:solidFill>
                  <a:srgbClr val="FFFFFF"/>
                </a:solidFill>
                <a:effectLst/>
                <a:uLnTx/>
                <a:uFillTx/>
                <a:ea typeface="+mn-ea"/>
                <a:cs typeface="+mn-cs"/>
              </a:rPr>
            </a:br>
            <a:r>
              <a:rPr kumimoji="0" lang="en-US" b="0" i="0" u="none" strike="noStrike" kern="1200" cap="none" spc="0" normalizeH="0" baseline="0" noProof="0" dirty="0">
                <a:ln>
                  <a:noFill/>
                </a:ln>
                <a:solidFill>
                  <a:srgbClr val="FFFFFF"/>
                </a:solidFill>
                <a:effectLst/>
                <a:uLnTx/>
                <a:uFillTx/>
                <a:ea typeface="+mn-ea"/>
                <a:cs typeface="+mn-cs"/>
              </a:rPr>
              <a:t>Intelligence</a:t>
            </a:r>
          </a:p>
        </p:txBody>
      </p:sp>
    </p:spTree>
    <p:extLst>
      <p:ext uri="{BB962C8B-B14F-4D97-AF65-F5344CB8AC3E}">
        <p14:creationId xmlns:p14="http://schemas.microsoft.com/office/powerpoint/2010/main" val="12927883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DA88241-8FB8-9B44-F197-C064F01F9500}"/>
              </a:ext>
            </a:extLst>
          </p:cNvPr>
          <p:cNvSpPr>
            <a:spLocks noGrp="1"/>
          </p:cNvSpPr>
          <p:nvPr>
            <p:ph type="body" sz="quarter" idx="18"/>
          </p:nvPr>
        </p:nvSpPr>
        <p:spPr/>
        <p:txBody>
          <a:bodyPr/>
          <a:lstStyle/>
          <a:p>
            <a:r>
              <a:rPr lang="en-US" b="1" dirty="0">
                <a:solidFill>
                  <a:srgbClr val="002060"/>
                </a:solidFill>
              </a:rPr>
              <a:t>Machine Learning (ML) </a:t>
            </a:r>
            <a:r>
              <a:rPr lang="en-US" dirty="0"/>
              <a:t>is a subset of AI that focuses on the automated use of data and improves without being explicitly programmed.  </a:t>
            </a:r>
          </a:p>
          <a:p>
            <a:pPr lvl="1"/>
            <a:r>
              <a:rPr lang="en-US" dirty="0"/>
              <a:t>Learns trends and patterns to make predictions/optimizations</a:t>
            </a:r>
          </a:p>
          <a:p>
            <a:pPr lvl="1"/>
            <a:r>
              <a:rPr lang="en-US" dirty="0"/>
              <a:t>Gradually improves over time</a:t>
            </a:r>
          </a:p>
          <a:p>
            <a:endParaRPr lang="en-US" dirty="0"/>
          </a:p>
          <a:p>
            <a:r>
              <a:rPr lang="en-US" dirty="0"/>
              <a:t>3 Functions of Machine Learning:</a:t>
            </a:r>
          </a:p>
          <a:p>
            <a:pPr lvl="1"/>
            <a:r>
              <a:rPr lang="en-US" b="1" dirty="0">
                <a:solidFill>
                  <a:srgbClr val="002060"/>
                </a:solidFill>
              </a:rPr>
              <a:t>Descriptive: </a:t>
            </a:r>
            <a:r>
              <a:rPr lang="en-US" dirty="0"/>
              <a:t>Uses data to explain what happened</a:t>
            </a:r>
          </a:p>
          <a:p>
            <a:pPr lvl="1"/>
            <a:r>
              <a:rPr lang="en-US" b="1" dirty="0">
                <a:solidFill>
                  <a:srgbClr val="002060"/>
                </a:solidFill>
              </a:rPr>
              <a:t>Predictive: </a:t>
            </a:r>
            <a:r>
              <a:rPr lang="en-US" dirty="0"/>
              <a:t>Uses data to predict what will happen</a:t>
            </a:r>
          </a:p>
          <a:p>
            <a:pPr lvl="1"/>
            <a:r>
              <a:rPr lang="en-US" b="1" dirty="0">
                <a:solidFill>
                  <a:srgbClr val="002060"/>
                </a:solidFill>
              </a:rPr>
              <a:t>Prescriptive: </a:t>
            </a:r>
            <a:r>
              <a:rPr lang="en-US" dirty="0"/>
              <a:t>Uses data to make suggestions about actions to take</a:t>
            </a:r>
          </a:p>
        </p:txBody>
      </p:sp>
      <p:sp>
        <p:nvSpPr>
          <p:cNvPr id="4" name="Text Placeholder 3">
            <a:extLst>
              <a:ext uri="{FF2B5EF4-FFF2-40B4-BE49-F238E27FC236}">
                <a16:creationId xmlns:a16="http://schemas.microsoft.com/office/drawing/2014/main" id="{927E4FBF-00C6-5E11-5023-69F697A68724}"/>
              </a:ext>
            </a:extLst>
          </p:cNvPr>
          <p:cNvSpPr>
            <a:spLocks noGrp="1"/>
          </p:cNvSpPr>
          <p:nvPr>
            <p:ph type="body" sz="quarter" idx="15"/>
          </p:nvPr>
        </p:nvSpPr>
        <p:spPr/>
        <p:txBody>
          <a:bodyPr/>
          <a:lstStyle/>
          <a:p>
            <a:r>
              <a:rPr lang="en-US" dirty="0"/>
              <a:t>ARTIFICIAL INTELLIGENCE</a:t>
            </a:r>
          </a:p>
        </p:txBody>
      </p:sp>
      <p:sp>
        <p:nvSpPr>
          <p:cNvPr id="2" name="Oval 1">
            <a:extLst>
              <a:ext uri="{FF2B5EF4-FFF2-40B4-BE49-F238E27FC236}">
                <a16:creationId xmlns:a16="http://schemas.microsoft.com/office/drawing/2014/main" id="{5D74A945-B015-6483-654E-499A3CD5AD18}"/>
              </a:ext>
            </a:extLst>
          </p:cNvPr>
          <p:cNvSpPr/>
          <p:nvPr/>
        </p:nvSpPr>
        <p:spPr>
          <a:xfrm>
            <a:off x="390331" y="944080"/>
            <a:ext cx="5187491" cy="5187491"/>
          </a:xfrm>
          <a:prstGeom prst="ellipse">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1C904FA6-3B42-D3F0-5952-B2FFEB00403F}"/>
              </a:ext>
            </a:extLst>
          </p:cNvPr>
          <p:cNvSpPr/>
          <p:nvPr/>
        </p:nvSpPr>
        <p:spPr>
          <a:xfrm>
            <a:off x="947344" y="2058107"/>
            <a:ext cx="4073464" cy="4073464"/>
          </a:xfrm>
          <a:prstGeom prst="ellipse">
            <a:avLst/>
          </a:prstGeom>
          <a:solidFill>
            <a:srgbClr val="002060"/>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1D0AC75A-8862-74DD-5CEF-D58D9F39A74C}"/>
              </a:ext>
            </a:extLst>
          </p:cNvPr>
          <p:cNvSpPr txBox="1"/>
          <p:nvPr/>
        </p:nvSpPr>
        <p:spPr>
          <a:xfrm>
            <a:off x="1771186" y="1233450"/>
            <a:ext cx="2411158"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Artificial </a:t>
            </a:r>
            <a:br>
              <a:rPr kumimoji="0" lang="en-US" b="0" i="0" u="none" strike="noStrike" kern="1200" cap="none" spc="0" normalizeH="0" baseline="0" noProof="0" dirty="0">
                <a:ln>
                  <a:noFill/>
                </a:ln>
                <a:solidFill>
                  <a:srgbClr val="FFFFFF"/>
                </a:solidFill>
                <a:effectLst/>
                <a:uLnTx/>
                <a:uFillTx/>
                <a:ea typeface="+mn-ea"/>
                <a:cs typeface="+mn-cs"/>
              </a:rPr>
            </a:br>
            <a:r>
              <a:rPr kumimoji="0" lang="en-US" b="0" i="0" u="none" strike="noStrike" kern="1200" cap="none" spc="0" normalizeH="0" baseline="0" noProof="0" dirty="0">
                <a:ln>
                  <a:noFill/>
                </a:ln>
                <a:solidFill>
                  <a:srgbClr val="FFFFFF"/>
                </a:solidFill>
                <a:effectLst/>
                <a:uLnTx/>
                <a:uFillTx/>
                <a:ea typeface="+mn-ea"/>
                <a:cs typeface="+mn-cs"/>
              </a:rPr>
              <a:t>Intelligence</a:t>
            </a:r>
          </a:p>
        </p:txBody>
      </p:sp>
      <p:sp>
        <p:nvSpPr>
          <p:cNvPr id="7" name="TextBox 6">
            <a:extLst>
              <a:ext uri="{FF2B5EF4-FFF2-40B4-BE49-F238E27FC236}">
                <a16:creationId xmlns:a16="http://schemas.microsoft.com/office/drawing/2014/main" id="{BDA53488-7B46-028A-D90C-58783B8B1619}"/>
              </a:ext>
            </a:extLst>
          </p:cNvPr>
          <p:cNvSpPr txBox="1"/>
          <p:nvPr/>
        </p:nvSpPr>
        <p:spPr>
          <a:xfrm>
            <a:off x="1771186" y="2273674"/>
            <a:ext cx="2411158"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Machine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dirty="0">
                <a:ln>
                  <a:noFill/>
                </a:ln>
                <a:solidFill>
                  <a:srgbClr val="FFFFFF"/>
                </a:solidFill>
                <a:effectLst/>
                <a:uLnTx/>
                <a:uFillTx/>
                <a:ea typeface="+mn-ea"/>
                <a:cs typeface="+mn-cs"/>
              </a:rPr>
              <a:t>Learning</a:t>
            </a:r>
          </a:p>
        </p:txBody>
      </p:sp>
    </p:spTree>
    <p:extLst>
      <p:ext uri="{BB962C8B-B14F-4D97-AF65-F5344CB8AC3E}">
        <p14:creationId xmlns:p14="http://schemas.microsoft.com/office/powerpoint/2010/main" val="15805205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aker Donelson - NEW">
      <a:dk1>
        <a:srgbClr val="666666"/>
      </a:dk1>
      <a:lt1>
        <a:srgbClr val="FFFFFF"/>
      </a:lt1>
      <a:dk2>
        <a:srgbClr val="999999"/>
      </a:dk2>
      <a:lt2>
        <a:srgbClr val="FFFFFF"/>
      </a:lt2>
      <a:accent1>
        <a:srgbClr val="D52B1E"/>
      </a:accent1>
      <a:accent2>
        <a:srgbClr val="FF9900"/>
      </a:accent2>
      <a:accent3>
        <a:srgbClr val="359B4C"/>
      </a:accent3>
      <a:accent4>
        <a:srgbClr val="00BBEE"/>
      </a:accent4>
      <a:accent5>
        <a:srgbClr val="006983"/>
      </a:accent5>
      <a:accent6>
        <a:srgbClr val="993399"/>
      </a:accent6>
      <a:hlink>
        <a:srgbClr val="D52B1E"/>
      </a:hlink>
      <a:folHlink>
        <a:srgbClr val="006983"/>
      </a:folHlink>
    </a:clrScheme>
    <a:fontScheme name="Open Sans">
      <a:majorFont>
        <a:latin typeface="Open Sans semibold"/>
        <a:ea typeface=""/>
        <a:cs typeface=""/>
      </a:majorFont>
      <a:minorFont>
        <a:latin typeface="Open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1_Office Theme">
  <a:themeElements>
    <a:clrScheme name="Baker Donelson - NEW">
      <a:dk1>
        <a:srgbClr val="666666"/>
      </a:dk1>
      <a:lt1>
        <a:srgbClr val="FFFFFF"/>
      </a:lt1>
      <a:dk2>
        <a:srgbClr val="999999"/>
      </a:dk2>
      <a:lt2>
        <a:srgbClr val="FFFFFF"/>
      </a:lt2>
      <a:accent1>
        <a:srgbClr val="D52B1E"/>
      </a:accent1>
      <a:accent2>
        <a:srgbClr val="FF9900"/>
      </a:accent2>
      <a:accent3>
        <a:srgbClr val="359B4C"/>
      </a:accent3>
      <a:accent4>
        <a:srgbClr val="00BBEE"/>
      </a:accent4>
      <a:accent5>
        <a:srgbClr val="006983"/>
      </a:accent5>
      <a:accent6>
        <a:srgbClr val="993399"/>
      </a:accent6>
      <a:hlink>
        <a:srgbClr val="D52B1E"/>
      </a:hlink>
      <a:folHlink>
        <a:srgbClr val="006983"/>
      </a:folHlink>
    </a:clrScheme>
    <a:fontScheme name="Open Sans">
      <a:majorFont>
        <a:latin typeface="Open Sans semibold"/>
        <a:ea typeface=""/>
        <a:cs typeface=""/>
      </a:majorFont>
      <a:minorFont>
        <a:latin typeface="open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3.xml><?xml version="1.0" encoding="utf-8"?>
<a:theme xmlns:a="http://schemas.openxmlformats.org/drawingml/2006/main" name="5_Office Theme">
  <a:themeElements>
    <a:clrScheme name="Baker Donelson - NEW">
      <a:dk1>
        <a:srgbClr val="666666"/>
      </a:dk1>
      <a:lt1>
        <a:srgbClr val="FFFFFF"/>
      </a:lt1>
      <a:dk2>
        <a:srgbClr val="999999"/>
      </a:dk2>
      <a:lt2>
        <a:srgbClr val="FFFFFF"/>
      </a:lt2>
      <a:accent1>
        <a:srgbClr val="D52B1E"/>
      </a:accent1>
      <a:accent2>
        <a:srgbClr val="FF9900"/>
      </a:accent2>
      <a:accent3>
        <a:srgbClr val="359B4C"/>
      </a:accent3>
      <a:accent4>
        <a:srgbClr val="00BBEE"/>
      </a:accent4>
      <a:accent5>
        <a:srgbClr val="006983"/>
      </a:accent5>
      <a:accent6>
        <a:srgbClr val="993399"/>
      </a:accent6>
      <a:hlink>
        <a:srgbClr val="D52B1E"/>
      </a:hlink>
      <a:folHlink>
        <a:srgbClr val="006983"/>
      </a:folHlink>
    </a:clrScheme>
    <a:fontScheme name="Open Sans">
      <a:majorFont>
        <a:latin typeface="Open Sans semibold"/>
        <a:ea typeface=""/>
        <a:cs typeface=""/>
      </a:majorFont>
      <a:minorFont>
        <a:latin typeface="open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4.xml><?xml version="1.0" encoding="utf-8"?>
<a:theme xmlns:a="http://schemas.openxmlformats.org/drawingml/2006/main" name="Baker Donelson">
  <a:themeElements>
    <a:clrScheme name="Baker Donelson Blue">
      <a:dk1>
        <a:srgbClr val="181818"/>
      </a:dk1>
      <a:lt1>
        <a:sysClr val="window" lastClr="FFFFFF"/>
      </a:lt1>
      <a:dk2>
        <a:srgbClr val="057091"/>
      </a:dk2>
      <a:lt2>
        <a:srgbClr val="F2F2F2"/>
      </a:lt2>
      <a:accent1>
        <a:srgbClr val="033453"/>
      </a:accent1>
      <a:accent2>
        <a:srgbClr val="006983"/>
      </a:accent2>
      <a:accent3>
        <a:srgbClr val="D52B1E"/>
      </a:accent3>
      <a:accent4>
        <a:srgbClr val="1E4A66"/>
      </a:accent4>
      <a:accent5>
        <a:srgbClr val="6E6F73"/>
      </a:accent5>
      <a:accent6>
        <a:srgbClr val="FF5657"/>
      </a:accent6>
      <a:hlink>
        <a:srgbClr val="9C1428"/>
      </a:hlink>
      <a:folHlink>
        <a:srgbClr val="750E1E"/>
      </a:folHlink>
    </a:clrScheme>
    <a:fontScheme name="Custom 1">
      <a:majorFont>
        <a:latin typeface="Poppins"/>
        <a:ea typeface=""/>
        <a:cs typeface=""/>
      </a:majorFont>
      <a:minorFont>
        <a:latin typeface="Poppi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a:defPPr>
      </a:lstStyle>
      <a:style>
        <a:lnRef idx="2">
          <a:schemeClr val="accent6">
            <a:shade val="50000"/>
          </a:schemeClr>
        </a:lnRef>
        <a:fillRef idx="1">
          <a:schemeClr val="accent6"/>
        </a:fillRef>
        <a:effectRef idx="0">
          <a:schemeClr val="accent6"/>
        </a:effectRef>
        <a:fontRef idx="minor">
          <a:schemeClr val="lt1"/>
        </a:fontRef>
      </a:style>
    </a:spDef>
  </a:objectDefaults>
  <a:extraClrSchemeLst/>
  <a:extLst>
    <a:ext uri="{05A4C25C-085E-4340-85A3-A5531E510DB2}">
      <thm15:themeFamily xmlns:thm15="http://schemas.microsoft.com/office/thememl/2012/main" name="Collaborative Work Flow (V2).potx" id="{6A4DD10F-76F6-48BA-9ABF-C85C8CF4F4C9}" vid="{2BF315CD-23D9-4BBE-AF3B-F307E1504F29}"/>
    </a:ext>
  </a:extLst>
</a:theme>
</file>

<file path=ppt/theme/theme5.xml><?xml version="1.0" encoding="utf-8"?>
<a:theme xmlns:a="http://schemas.openxmlformats.org/drawingml/2006/main" name="3_Office Theme">
  <a:themeElements>
    <a:clrScheme name="Baker Donelson - NEW">
      <a:dk1>
        <a:srgbClr val="666666"/>
      </a:dk1>
      <a:lt1>
        <a:srgbClr val="FFFFFF"/>
      </a:lt1>
      <a:dk2>
        <a:srgbClr val="999999"/>
      </a:dk2>
      <a:lt2>
        <a:srgbClr val="FFFFFF"/>
      </a:lt2>
      <a:accent1>
        <a:srgbClr val="D52B1E"/>
      </a:accent1>
      <a:accent2>
        <a:srgbClr val="FF9900"/>
      </a:accent2>
      <a:accent3>
        <a:srgbClr val="359B4C"/>
      </a:accent3>
      <a:accent4>
        <a:srgbClr val="00BBEE"/>
      </a:accent4>
      <a:accent5>
        <a:srgbClr val="006983"/>
      </a:accent5>
      <a:accent6>
        <a:srgbClr val="993399"/>
      </a:accent6>
      <a:hlink>
        <a:srgbClr val="D52B1E"/>
      </a:hlink>
      <a:folHlink>
        <a:srgbClr val="006983"/>
      </a:folHlink>
    </a:clrScheme>
    <a:fontScheme name="Open Sans">
      <a:majorFont>
        <a:latin typeface="Open Sans semibold"/>
        <a:ea typeface=""/>
        <a:cs typeface=""/>
      </a:majorFont>
      <a:minorFont>
        <a:latin typeface="open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D1532F43D2BB8429933A191CE991559" ma:contentTypeVersion="0" ma:contentTypeDescription="Create a new document." ma:contentTypeScope="" ma:versionID="61a0daf058e85abeb466bc0c6246dec2">
  <xsd:schema xmlns:xsd="http://www.w3.org/2001/XMLSchema" xmlns:xs="http://www.w3.org/2001/XMLSchema" xmlns:p="http://schemas.microsoft.com/office/2006/metadata/properties" targetNamespace="http://schemas.microsoft.com/office/2006/metadata/properties" ma:root="true" ma:fieldsID="31d5eec3c12ee2e8127422d567928f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5BDB9E4-8A6C-478F-B14D-5E9985879181}"/>
</file>

<file path=customXml/itemProps2.xml><?xml version="1.0" encoding="utf-8"?>
<ds:datastoreItem xmlns:ds="http://schemas.openxmlformats.org/officeDocument/2006/customXml" ds:itemID="{8A2556EA-5D18-4971-9CD4-06B25464A1AD}"/>
</file>

<file path=customXml/itemProps3.xml><?xml version="1.0" encoding="utf-8"?>
<ds:datastoreItem xmlns:ds="http://schemas.openxmlformats.org/officeDocument/2006/customXml" ds:itemID="{B5BBB699-F163-4A10-A30C-EC88C7C708CB}"/>
</file>

<file path=docMetadata/LabelInfo.xml><?xml version="1.0" encoding="utf-8"?>
<clbl:labelList xmlns:clbl="http://schemas.microsoft.com/office/2020/mipLabelMetadata">
  <clbl:label id="{2fa9e823-faeb-4d27-b167-7065e6efc5a9}" enabled="0" method="" siteId="{2fa9e823-faeb-4d27-b167-7065e6efc5a9}" removed="1"/>
</clbl:labelList>
</file>

<file path=docProps/app.xml><?xml version="1.0" encoding="utf-8"?>
<Properties xmlns="http://schemas.openxmlformats.org/officeDocument/2006/extended-properties" xmlns:vt="http://schemas.openxmlformats.org/officeDocument/2006/docPropsVTypes">
  <Template>Office Theme</Template>
  <TotalTime>47463</TotalTime>
  <Words>5963</Words>
  <Application>Microsoft Office PowerPoint</Application>
  <PresentationFormat>Widescreen</PresentationFormat>
  <Paragraphs>535</Paragraphs>
  <Slides>45</Slides>
  <Notes>18</Notes>
  <HiddenSlides>0</HiddenSlides>
  <MMClips>1</MMClips>
  <ScaleCrop>false</ScaleCrop>
  <HeadingPairs>
    <vt:vector size="8" baseType="variant">
      <vt:variant>
        <vt:lpstr>Fonts Used</vt:lpstr>
      </vt:variant>
      <vt:variant>
        <vt:i4>15</vt:i4>
      </vt:variant>
      <vt:variant>
        <vt:lpstr>Theme</vt:lpstr>
      </vt:variant>
      <vt:variant>
        <vt:i4>5</vt:i4>
      </vt:variant>
      <vt:variant>
        <vt:lpstr>Embedded OLE Servers</vt:lpstr>
      </vt:variant>
      <vt:variant>
        <vt:i4>1</vt:i4>
      </vt:variant>
      <vt:variant>
        <vt:lpstr>Slide Titles</vt:lpstr>
      </vt:variant>
      <vt:variant>
        <vt:i4>45</vt:i4>
      </vt:variant>
    </vt:vector>
  </HeadingPairs>
  <TitlesOfParts>
    <vt:vector size="66" baseType="lpstr">
      <vt:lpstr>Arial</vt:lpstr>
      <vt:lpstr>Calibri</vt:lpstr>
      <vt:lpstr>Epilogue</vt:lpstr>
      <vt:lpstr>ITC Berkeley Old Style W01</vt:lpstr>
      <vt:lpstr>Knowledge2017</vt:lpstr>
      <vt:lpstr>Open Sans</vt:lpstr>
      <vt:lpstr>Open Sans (Body)</vt:lpstr>
      <vt:lpstr>Open Sans Extrabold</vt:lpstr>
      <vt:lpstr>Open Sans Light</vt:lpstr>
      <vt:lpstr>Open Sans Semibold</vt:lpstr>
      <vt:lpstr>Poppins</vt:lpstr>
      <vt:lpstr>Söhne</vt:lpstr>
      <vt:lpstr>Times New Roman</vt:lpstr>
      <vt:lpstr>Trebuchet MS</vt:lpstr>
      <vt:lpstr>Wingdings</vt:lpstr>
      <vt:lpstr>Office Theme</vt:lpstr>
      <vt:lpstr>1_Office Theme</vt:lpstr>
      <vt:lpstr>5_Office Theme</vt:lpstr>
      <vt:lpstr>Baker Donelson</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levator</dc:title>
  <dc:subject/>
  <dc:creator>Isabella Moncada</dc:creator>
  <cp:keywords/>
  <dc:description/>
  <cp:lastModifiedBy>BDBCB</cp:lastModifiedBy>
  <cp:revision>7647</cp:revision>
  <cp:lastPrinted>2018-10-05T21:53:18Z</cp:lastPrinted>
  <dcterms:created xsi:type="dcterms:W3CDTF">2014-11-12T21:47:38Z</dcterms:created>
  <dcterms:modified xsi:type="dcterms:W3CDTF">2025-04-19T19:20:3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dDocumentId">
    <vt:lpwstr>4854-5905-7575</vt:lpwstr>
  </property>
  <property fmtid="{D5CDD505-2E9C-101B-9397-08002B2CF9AE}" pid="3" name="ContentTypeId">
    <vt:lpwstr>0x0101001D1532F43D2BB8429933A191CE991559</vt:lpwstr>
  </property>
</Properties>
</file>